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4.xml" ContentType="application/vnd.openxmlformats-officedocument.presentationml.tags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5.xml" ContentType="application/vnd.openxmlformats-officedocument.presentationml.tags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8.xml" ContentType="application/vnd.openxmlformats-officedocument.presentationml.tags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10.xml" ContentType="application/vnd.openxmlformats-officedocument.presentationml.tags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tags/tag11.xml" ContentType="application/vnd.openxmlformats-officedocument.presentationml.tags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ags/tag12.xml" ContentType="application/vnd.openxmlformats-officedocument.presentationml.tags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tags/tag14.xml" ContentType="application/vnd.openxmlformats-officedocument.presentationml.tags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notesSlides/notesSlide14.xml" ContentType="application/vnd.openxmlformats-officedocument.presentationml.notesSlide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tags/tag17.xml" ContentType="application/vnd.openxmlformats-officedocument.presentationml.tags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notesSlides/notesSlide22.xml" ContentType="application/vnd.openxmlformats-officedocument.presentationml.notesSlide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notesSlides/notesSlide23.xml" ContentType="application/vnd.openxmlformats-officedocument.presentationml.notesSlide+xml"/>
  <Override PartName="/ppt/tags/tag22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23.xml" ContentType="application/vnd.openxmlformats-officedocument.presentationml.tags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notesSlides/notesSlide26.xml" ContentType="application/vnd.openxmlformats-officedocument.presentationml.notesSlide+xml"/>
  <Override PartName="/ppt/tags/tag24.xml" ContentType="application/vnd.openxmlformats-officedocument.presentationml.tags+xml"/>
  <Override PartName="/ppt/notesSlides/notesSlide27.xml" ContentType="application/vnd.openxmlformats-officedocument.presentationml.notesSlide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tags/tag25.xml" ContentType="application/vnd.openxmlformats-officedocument.presentationml.tags+xml"/>
  <Override PartName="/ppt/notesSlides/notesSlide28.xml" ContentType="application/vnd.openxmlformats-officedocument.presentationml.notesSlide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notesSlides/notesSlide29.xml" ContentType="application/vnd.openxmlformats-officedocument.presentationml.notesSlide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notesSlides/notesSlide30.xml" ContentType="application/vnd.openxmlformats-officedocument.presentationml.notesSlide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notesSlides/notesSlide31.xml" ContentType="application/vnd.openxmlformats-officedocument.presentationml.notesSlide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notesSlides/notesSlide32.xml" ContentType="application/vnd.openxmlformats-officedocument.presentationml.notesSlide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ppt/tags/tag26.xml" ContentType="application/vnd.openxmlformats-officedocument.presentationml.tags+xml"/>
  <Override PartName="/ppt/diagrams/data38.xml" ContentType="application/vnd.openxmlformats-officedocument.drawingml.diagramData+xml"/>
  <Override PartName="/ppt/diagrams/layout38.xml" ContentType="application/vnd.openxmlformats-officedocument.drawingml.diagramLayout+xml"/>
  <Override PartName="/ppt/diagrams/quickStyle38.xml" ContentType="application/vnd.openxmlformats-officedocument.drawingml.diagramStyle+xml"/>
  <Override PartName="/ppt/diagrams/colors38.xml" ContentType="application/vnd.openxmlformats-officedocument.drawingml.diagramColors+xml"/>
  <Override PartName="/ppt/diagrams/drawing38.xml" ContentType="application/vnd.ms-office.drawingml.diagramDrawing+xml"/>
  <Override PartName="/ppt/diagrams/data39.xml" ContentType="application/vnd.openxmlformats-officedocument.drawingml.diagramData+xml"/>
  <Override PartName="/ppt/diagrams/layout39.xml" ContentType="application/vnd.openxmlformats-officedocument.drawingml.diagramLayout+xml"/>
  <Override PartName="/ppt/diagrams/quickStyle39.xml" ContentType="application/vnd.openxmlformats-officedocument.drawingml.diagramStyle+xml"/>
  <Override PartName="/ppt/diagrams/colors39.xml" ContentType="application/vnd.openxmlformats-officedocument.drawingml.diagramColors+xml"/>
  <Override PartName="/ppt/diagrams/drawing39.xml" ContentType="application/vnd.ms-office.drawingml.diagramDrawing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10" r:id="rId1"/>
    <p:sldMasterId id="2147484122" r:id="rId2"/>
    <p:sldMasterId id="2147484130" r:id="rId3"/>
    <p:sldMasterId id="2147484137" r:id="rId4"/>
  </p:sldMasterIdLst>
  <p:notesMasterIdLst>
    <p:notesMasterId r:id="rId70"/>
  </p:notesMasterIdLst>
  <p:handoutMasterIdLst>
    <p:handoutMasterId r:id="rId71"/>
  </p:handoutMasterIdLst>
  <p:sldIdLst>
    <p:sldId id="256" r:id="rId5"/>
    <p:sldId id="359" r:id="rId6"/>
    <p:sldId id="443" r:id="rId7"/>
    <p:sldId id="353" r:id="rId8"/>
    <p:sldId id="354" r:id="rId9"/>
    <p:sldId id="366" r:id="rId10"/>
    <p:sldId id="364" r:id="rId11"/>
    <p:sldId id="444" r:id="rId12"/>
    <p:sldId id="464" r:id="rId13"/>
    <p:sldId id="480" r:id="rId14"/>
    <p:sldId id="478" r:id="rId15"/>
    <p:sldId id="492" r:id="rId16"/>
    <p:sldId id="258" r:id="rId17"/>
    <p:sldId id="314" r:id="rId18"/>
    <p:sldId id="259" r:id="rId19"/>
    <p:sldId id="261" r:id="rId20"/>
    <p:sldId id="339" r:id="rId21"/>
    <p:sldId id="263" r:id="rId22"/>
    <p:sldId id="264" r:id="rId23"/>
    <p:sldId id="265" r:id="rId24"/>
    <p:sldId id="267" r:id="rId25"/>
    <p:sldId id="268" r:id="rId26"/>
    <p:sldId id="270" r:id="rId27"/>
    <p:sldId id="271" r:id="rId28"/>
    <p:sldId id="334" r:id="rId29"/>
    <p:sldId id="346" r:id="rId30"/>
    <p:sldId id="333" r:id="rId31"/>
    <p:sldId id="351" r:id="rId32"/>
    <p:sldId id="357" r:id="rId33"/>
    <p:sldId id="493" r:id="rId34"/>
    <p:sldId id="287" r:id="rId35"/>
    <p:sldId id="289" r:id="rId36"/>
    <p:sldId id="445" r:id="rId37"/>
    <p:sldId id="446" r:id="rId38"/>
    <p:sldId id="447" r:id="rId39"/>
    <p:sldId id="490" r:id="rId40"/>
    <p:sldId id="494" r:id="rId41"/>
    <p:sldId id="448" r:id="rId42"/>
    <p:sldId id="477" r:id="rId43"/>
    <p:sldId id="356" r:id="rId44"/>
    <p:sldId id="452" r:id="rId45"/>
    <p:sldId id="495" r:id="rId46"/>
    <p:sldId id="482" r:id="rId47"/>
    <p:sldId id="450" r:id="rId48"/>
    <p:sldId id="469" r:id="rId49"/>
    <p:sldId id="488" r:id="rId50"/>
    <p:sldId id="473" r:id="rId51"/>
    <p:sldId id="491" r:id="rId52"/>
    <p:sldId id="374" r:id="rId53"/>
    <p:sldId id="459" r:id="rId54"/>
    <p:sldId id="383" r:id="rId55"/>
    <p:sldId id="401" r:id="rId56"/>
    <p:sldId id="424" r:id="rId57"/>
    <p:sldId id="432" r:id="rId58"/>
    <p:sldId id="433" r:id="rId59"/>
    <p:sldId id="435" r:id="rId60"/>
    <p:sldId id="437" r:id="rId61"/>
    <p:sldId id="487" r:id="rId62"/>
    <p:sldId id="439" r:id="rId63"/>
    <p:sldId id="461" r:id="rId64"/>
    <p:sldId id="311" r:id="rId65"/>
    <p:sldId id="348" r:id="rId66"/>
    <p:sldId id="681" r:id="rId67"/>
    <p:sldId id="362" r:id="rId68"/>
    <p:sldId id="474" r:id="rId69"/>
  </p:sldIdLst>
  <p:sldSz cx="9144000" cy="6858000" type="screen4x3"/>
  <p:notesSz cx="7010400" cy="9296400"/>
  <p:custDataLst>
    <p:tags r:id="rId7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payo, Esther M." initials="SEM" lastIdx="6" clrIdx="0">
    <p:extLst>
      <p:ext uri="{19B8F6BF-5375-455C-9EA6-DF929625EA0E}">
        <p15:presenceInfo xmlns:p15="http://schemas.microsoft.com/office/powerpoint/2012/main" userId="S-1-5-21-2095401915-1854694151-564218192-189466" providerId="AD"/>
      </p:ext>
    </p:extLst>
  </p:cmAuthor>
  <p:cmAuthor id="2" name="Little, Kim" initials="LK" lastIdx="7" clrIdx="1">
    <p:extLst>
      <p:ext uri="{19B8F6BF-5375-455C-9EA6-DF929625EA0E}">
        <p15:presenceInfo xmlns:p15="http://schemas.microsoft.com/office/powerpoint/2012/main" userId="S-1-5-21-2095401915-1854694151-564218192-757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56" autoAdjust="0"/>
    <p:restoredTop sz="94385" autoAdjust="0"/>
  </p:normalViewPr>
  <p:slideViewPr>
    <p:cSldViewPr>
      <p:cViewPr varScale="1">
        <p:scale>
          <a:sx n="86" d="100"/>
          <a:sy n="86" d="100"/>
        </p:scale>
        <p:origin x="552" y="1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tags" Target="tags/tag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notesMaster" Target="notesMasters/notesMaster1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9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786C18A-285A-438A-8277-BEECCF4EE2D9}" type="doc">
      <dgm:prSet loTypeId="urn:microsoft.com/office/officeart/2005/8/layout/vList2" loCatId="list" qsTypeId="urn:microsoft.com/office/officeart/2005/8/quickstyle/3d3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A31992E-EA7B-4112-BFE5-F8E344F99B29}">
      <dgm:prSet/>
      <dgm:spPr/>
      <dgm:t>
        <a:bodyPr/>
        <a:lstStyle/>
        <a:p>
          <a:pPr algn="ctr" rtl="0"/>
          <a:r>
            <a:rPr lang="en-US" b="1" baseline="0" dirty="0"/>
            <a:t>Pediatric Emergency Medicine Fellowship Overview 2022</a:t>
          </a:r>
          <a:endParaRPr lang="en-US" dirty="0"/>
        </a:p>
      </dgm:t>
    </dgm:pt>
    <dgm:pt modelId="{FDE9C38B-4FEC-4227-9996-885C54344A5A}" type="parTrans" cxnId="{BF02F64E-CAD8-49F9-8563-01E026A9AEC6}">
      <dgm:prSet/>
      <dgm:spPr/>
      <dgm:t>
        <a:bodyPr/>
        <a:lstStyle/>
        <a:p>
          <a:endParaRPr lang="en-US"/>
        </a:p>
      </dgm:t>
    </dgm:pt>
    <dgm:pt modelId="{778974BA-74D1-4AAF-AD7E-2896F7844F0A}" type="sibTrans" cxnId="{BF02F64E-CAD8-49F9-8563-01E026A9AEC6}">
      <dgm:prSet/>
      <dgm:spPr/>
      <dgm:t>
        <a:bodyPr/>
        <a:lstStyle/>
        <a:p>
          <a:endParaRPr lang="en-US"/>
        </a:p>
      </dgm:t>
    </dgm:pt>
    <dgm:pt modelId="{B1950EAF-269E-441F-A6E4-B69A51A03722}" type="pres">
      <dgm:prSet presAssocID="{D786C18A-285A-438A-8277-BEECCF4EE2D9}" presName="linear" presStyleCnt="0">
        <dgm:presLayoutVars>
          <dgm:animLvl val="lvl"/>
          <dgm:resizeHandles val="exact"/>
        </dgm:presLayoutVars>
      </dgm:prSet>
      <dgm:spPr/>
    </dgm:pt>
    <dgm:pt modelId="{B25D0320-51EB-41EB-8D2C-534858B29EE1}" type="pres">
      <dgm:prSet presAssocID="{6A31992E-EA7B-4112-BFE5-F8E344F99B29}" presName="parentText" presStyleLbl="node1" presStyleIdx="0" presStyleCnt="1" custLinFactNeighborX="-3113" custLinFactNeighborY="661">
        <dgm:presLayoutVars>
          <dgm:chMax val="0"/>
          <dgm:bulletEnabled val="1"/>
        </dgm:presLayoutVars>
      </dgm:prSet>
      <dgm:spPr/>
    </dgm:pt>
  </dgm:ptLst>
  <dgm:cxnLst>
    <dgm:cxn modelId="{BF02F64E-CAD8-49F9-8563-01E026A9AEC6}" srcId="{D786C18A-285A-438A-8277-BEECCF4EE2D9}" destId="{6A31992E-EA7B-4112-BFE5-F8E344F99B29}" srcOrd="0" destOrd="0" parTransId="{FDE9C38B-4FEC-4227-9996-885C54344A5A}" sibTransId="{778974BA-74D1-4AAF-AD7E-2896F7844F0A}"/>
    <dgm:cxn modelId="{54C88867-9628-4544-BF6F-D02DE6CE9046}" type="presOf" srcId="{D786C18A-285A-438A-8277-BEECCF4EE2D9}" destId="{B1950EAF-269E-441F-A6E4-B69A51A03722}" srcOrd="0" destOrd="0" presId="urn:microsoft.com/office/officeart/2005/8/layout/vList2"/>
    <dgm:cxn modelId="{332F44DE-E725-4FDB-A2D9-8CE5A2A8A0B4}" type="presOf" srcId="{6A31992E-EA7B-4112-BFE5-F8E344F99B29}" destId="{B25D0320-51EB-41EB-8D2C-534858B29EE1}" srcOrd="0" destOrd="0" presId="urn:microsoft.com/office/officeart/2005/8/layout/vList2"/>
    <dgm:cxn modelId="{771B02BC-E9D2-4328-8F88-8D72D3D96DAA}" type="presParOf" srcId="{B1950EAF-269E-441F-A6E4-B69A51A03722}" destId="{B25D0320-51EB-41EB-8D2C-534858B29EE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34B7789E-7B8F-4286-9EBF-FC9C53FB0A2F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0ED803D-3B4A-47B7-8EF7-439AE446A7E5}">
      <dgm:prSet/>
      <dgm:spPr/>
      <dgm:t>
        <a:bodyPr/>
        <a:lstStyle/>
        <a:p>
          <a:pPr rtl="0"/>
          <a:r>
            <a:rPr lang="en-US" dirty="0"/>
            <a:t>Provide ED evaluation and management of acutely ill or injured pediatric patients</a:t>
          </a:r>
        </a:p>
      </dgm:t>
    </dgm:pt>
    <dgm:pt modelId="{C98CDD90-84B4-4A54-8519-05410C0CA814}" type="parTrans" cxnId="{8CC73BEB-72F0-4F96-BC76-CDD1198DFE07}">
      <dgm:prSet/>
      <dgm:spPr/>
      <dgm:t>
        <a:bodyPr/>
        <a:lstStyle/>
        <a:p>
          <a:endParaRPr lang="en-US"/>
        </a:p>
      </dgm:t>
    </dgm:pt>
    <dgm:pt modelId="{D976135F-EE7C-4735-9B5C-5449F09480CB}" type="sibTrans" cxnId="{8CC73BEB-72F0-4F96-BC76-CDD1198DFE07}">
      <dgm:prSet/>
      <dgm:spPr/>
      <dgm:t>
        <a:bodyPr/>
        <a:lstStyle/>
        <a:p>
          <a:endParaRPr lang="en-US"/>
        </a:p>
      </dgm:t>
    </dgm:pt>
    <dgm:pt modelId="{CB13175F-74F0-40B8-8AE5-FB0435FA8544}">
      <dgm:prSet/>
      <dgm:spPr/>
      <dgm:t>
        <a:bodyPr/>
        <a:lstStyle/>
        <a:p>
          <a:pPr rtl="0"/>
          <a:r>
            <a:rPr lang="en-US"/>
            <a:t>Perform patient evaluations quickly with stabilization of life threatening processes</a:t>
          </a:r>
        </a:p>
      </dgm:t>
    </dgm:pt>
    <dgm:pt modelId="{E862D3A1-B1FB-466C-87C2-6FD84AEF0099}" type="parTrans" cxnId="{51A241C8-82D6-470A-AED2-919B9EED4536}">
      <dgm:prSet/>
      <dgm:spPr/>
      <dgm:t>
        <a:bodyPr/>
        <a:lstStyle/>
        <a:p>
          <a:endParaRPr lang="en-US"/>
        </a:p>
      </dgm:t>
    </dgm:pt>
    <dgm:pt modelId="{721BFC0C-67DB-4099-89A9-E082F2259D6E}" type="sibTrans" cxnId="{51A241C8-82D6-470A-AED2-919B9EED4536}">
      <dgm:prSet/>
      <dgm:spPr/>
      <dgm:t>
        <a:bodyPr/>
        <a:lstStyle/>
        <a:p>
          <a:endParaRPr lang="en-US"/>
        </a:p>
      </dgm:t>
    </dgm:pt>
    <dgm:pt modelId="{318C7229-2390-4334-BE0C-D75032F6CD96}">
      <dgm:prSet/>
      <dgm:spPr/>
      <dgm:t>
        <a:bodyPr/>
        <a:lstStyle/>
        <a:p>
          <a:pPr rtl="0"/>
          <a:r>
            <a:rPr lang="en-US" dirty="0"/>
            <a:t>Develop competency in technical/procedural and resuscitation skills necessary to practice PEM </a:t>
          </a:r>
        </a:p>
      </dgm:t>
    </dgm:pt>
    <dgm:pt modelId="{710FB3AE-BA79-4620-977B-592CFC870380}" type="parTrans" cxnId="{5AFB7DD5-4C51-4035-B31B-F55AC7DD6F2A}">
      <dgm:prSet/>
      <dgm:spPr/>
      <dgm:t>
        <a:bodyPr/>
        <a:lstStyle/>
        <a:p>
          <a:endParaRPr lang="en-US"/>
        </a:p>
      </dgm:t>
    </dgm:pt>
    <dgm:pt modelId="{B775CBC5-F464-4254-9B7C-4153CD8CAE4C}" type="sibTrans" cxnId="{5AFB7DD5-4C51-4035-B31B-F55AC7DD6F2A}">
      <dgm:prSet/>
      <dgm:spPr/>
      <dgm:t>
        <a:bodyPr/>
        <a:lstStyle/>
        <a:p>
          <a:endParaRPr lang="en-US"/>
        </a:p>
      </dgm:t>
    </dgm:pt>
    <dgm:pt modelId="{3B336111-046E-41A6-9ED0-80E8C555C491}">
      <dgm:prSet/>
      <dgm:spPr/>
      <dgm:t>
        <a:bodyPr/>
        <a:lstStyle/>
        <a:p>
          <a:pPr rtl="0"/>
          <a:r>
            <a:rPr lang="en-US" dirty="0"/>
            <a:t>Prioritize and simultaneously manage the emergency care of multiple patients</a:t>
          </a:r>
        </a:p>
      </dgm:t>
    </dgm:pt>
    <dgm:pt modelId="{E520A6E6-79BD-4858-979A-ECC00C9EE6C3}" type="parTrans" cxnId="{5123FC35-550D-4D34-860D-FFAB61CA2BD8}">
      <dgm:prSet/>
      <dgm:spPr/>
      <dgm:t>
        <a:bodyPr/>
        <a:lstStyle/>
        <a:p>
          <a:endParaRPr lang="en-US"/>
        </a:p>
      </dgm:t>
    </dgm:pt>
    <dgm:pt modelId="{4B4848AA-B667-4546-A0F8-71849ED92147}" type="sibTrans" cxnId="{5123FC35-550D-4D34-860D-FFAB61CA2BD8}">
      <dgm:prSet/>
      <dgm:spPr/>
      <dgm:t>
        <a:bodyPr/>
        <a:lstStyle/>
        <a:p>
          <a:endParaRPr lang="en-US"/>
        </a:p>
      </dgm:t>
    </dgm:pt>
    <dgm:pt modelId="{04175478-403B-4F75-A640-32FEE24CAA2A}">
      <dgm:prSet/>
      <dgm:spPr/>
      <dgm:t>
        <a:bodyPr/>
        <a:lstStyle/>
        <a:p>
          <a:pPr rtl="0"/>
          <a:r>
            <a:rPr lang="en-US" dirty="0"/>
            <a:t>Use evidence based reasoning to guide clinical practice</a:t>
          </a:r>
        </a:p>
      </dgm:t>
    </dgm:pt>
    <dgm:pt modelId="{C36C191B-1DFB-4385-A58B-208A149B6D64}" type="parTrans" cxnId="{763F4393-D6DE-4017-9167-5DFED8C97FDA}">
      <dgm:prSet/>
      <dgm:spPr/>
      <dgm:t>
        <a:bodyPr/>
        <a:lstStyle/>
        <a:p>
          <a:endParaRPr lang="en-US"/>
        </a:p>
      </dgm:t>
    </dgm:pt>
    <dgm:pt modelId="{D255A5B4-CDDE-4E99-BE14-4722AF9E457B}" type="sibTrans" cxnId="{763F4393-D6DE-4017-9167-5DFED8C97FDA}">
      <dgm:prSet/>
      <dgm:spPr/>
      <dgm:t>
        <a:bodyPr/>
        <a:lstStyle/>
        <a:p>
          <a:endParaRPr lang="en-US"/>
        </a:p>
      </dgm:t>
    </dgm:pt>
    <dgm:pt modelId="{296EA8D4-AE6A-4759-8331-3522E82DE052}">
      <dgm:prSet/>
      <dgm:spPr/>
      <dgm:t>
        <a:bodyPr/>
        <a:lstStyle/>
        <a:p>
          <a:pPr rtl="0"/>
          <a:r>
            <a:rPr lang="en-US" dirty="0"/>
            <a:t>Academic and community experience</a:t>
          </a:r>
        </a:p>
      </dgm:t>
    </dgm:pt>
    <dgm:pt modelId="{92774EA2-C002-4906-B447-F62F0C820EB1}" type="parTrans" cxnId="{43BD7BED-EE88-44C7-8258-5A8E38DE1624}">
      <dgm:prSet/>
      <dgm:spPr/>
      <dgm:t>
        <a:bodyPr/>
        <a:lstStyle/>
        <a:p>
          <a:endParaRPr lang="en-US"/>
        </a:p>
      </dgm:t>
    </dgm:pt>
    <dgm:pt modelId="{8941894A-FC59-4DF5-A0AE-FD8A160B9253}" type="sibTrans" cxnId="{43BD7BED-EE88-44C7-8258-5A8E38DE1624}">
      <dgm:prSet/>
      <dgm:spPr/>
      <dgm:t>
        <a:bodyPr/>
        <a:lstStyle/>
        <a:p>
          <a:endParaRPr lang="en-US"/>
        </a:p>
      </dgm:t>
    </dgm:pt>
    <dgm:pt modelId="{21E811EA-4CE3-4D46-9296-5B14C36055D0}" type="pres">
      <dgm:prSet presAssocID="{34B7789E-7B8F-4286-9EBF-FC9C53FB0A2F}" presName="linear" presStyleCnt="0">
        <dgm:presLayoutVars>
          <dgm:animLvl val="lvl"/>
          <dgm:resizeHandles val="exact"/>
        </dgm:presLayoutVars>
      </dgm:prSet>
      <dgm:spPr/>
    </dgm:pt>
    <dgm:pt modelId="{00828E04-7117-40A4-BB3C-9B016BAD91D0}" type="pres">
      <dgm:prSet presAssocID="{F0ED803D-3B4A-47B7-8EF7-439AE446A7E5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8C4DB6B-A884-46CE-908B-7ABDC238CEDC}" type="pres">
      <dgm:prSet presAssocID="{F0ED803D-3B4A-47B7-8EF7-439AE446A7E5}" presName="childText" presStyleLbl="revTx" presStyleIdx="0" presStyleCnt="1">
        <dgm:presLayoutVars>
          <dgm:bulletEnabled val="1"/>
        </dgm:presLayoutVars>
      </dgm:prSet>
      <dgm:spPr/>
    </dgm:pt>
    <dgm:pt modelId="{994FCE12-DCC1-4650-9E42-84BC66652CCC}" type="pres">
      <dgm:prSet presAssocID="{3B336111-046E-41A6-9ED0-80E8C555C491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C7F3373-0E19-4B86-8E39-3B512E4F18FC}" type="pres">
      <dgm:prSet presAssocID="{4B4848AA-B667-4546-A0F8-71849ED92147}" presName="spacer" presStyleCnt="0"/>
      <dgm:spPr/>
    </dgm:pt>
    <dgm:pt modelId="{B4DF9B10-E607-4D8B-9472-3321BF2D8044}" type="pres">
      <dgm:prSet presAssocID="{04175478-403B-4F75-A640-32FEE24CAA2A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42FD4D2F-A380-44EF-A814-5BFB8F95BE9E}" type="presOf" srcId="{34B7789E-7B8F-4286-9EBF-FC9C53FB0A2F}" destId="{21E811EA-4CE3-4D46-9296-5B14C36055D0}" srcOrd="0" destOrd="0" presId="urn:microsoft.com/office/officeart/2005/8/layout/vList2"/>
    <dgm:cxn modelId="{5123FC35-550D-4D34-860D-FFAB61CA2BD8}" srcId="{34B7789E-7B8F-4286-9EBF-FC9C53FB0A2F}" destId="{3B336111-046E-41A6-9ED0-80E8C555C491}" srcOrd="1" destOrd="0" parTransId="{E520A6E6-79BD-4858-979A-ECC00C9EE6C3}" sibTransId="{4B4848AA-B667-4546-A0F8-71849ED92147}"/>
    <dgm:cxn modelId="{143C6136-06A5-4E51-92DE-CCD715CE7958}" type="presOf" srcId="{318C7229-2390-4334-BE0C-D75032F6CD96}" destId="{08C4DB6B-A884-46CE-908B-7ABDC238CEDC}" srcOrd="0" destOrd="1" presId="urn:microsoft.com/office/officeart/2005/8/layout/vList2"/>
    <dgm:cxn modelId="{D1D2273B-DD28-40C5-8333-CC6A7858A55D}" type="presOf" srcId="{296EA8D4-AE6A-4759-8331-3522E82DE052}" destId="{08C4DB6B-A884-46CE-908B-7ABDC238CEDC}" srcOrd="0" destOrd="2" presId="urn:microsoft.com/office/officeart/2005/8/layout/vList2"/>
    <dgm:cxn modelId="{1E415948-A2C1-4BB3-B175-E4CC883F5187}" type="presOf" srcId="{CB13175F-74F0-40B8-8AE5-FB0435FA8544}" destId="{08C4DB6B-A884-46CE-908B-7ABDC238CEDC}" srcOrd="0" destOrd="0" presId="urn:microsoft.com/office/officeart/2005/8/layout/vList2"/>
    <dgm:cxn modelId="{2128EC6F-E56F-494B-B7D9-54935BAA5ED2}" type="presOf" srcId="{F0ED803D-3B4A-47B7-8EF7-439AE446A7E5}" destId="{00828E04-7117-40A4-BB3C-9B016BAD91D0}" srcOrd="0" destOrd="0" presId="urn:microsoft.com/office/officeart/2005/8/layout/vList2"/>
    <dgm:cxn modelId="{9F5A4289-C19F-40A5-BFAD-365D5742AE9B}" type="presOf" srcId="{3B336111-046E-41A6-9ED0-80E8C555C491}" destId="{994FCE12-DCC1-4650-9E42-84BC66652CCC}" srcOrd="0" destOrd="0" presId="urn:microsoft.com/office/officeart/2005/8/layout/vList2"/>
    <dgm:cxn modelId="{763F4393-D6DE-4017-9167-5DFED8C97FDA}" srcId="{34B7789E-7B8F-4286-9EBF-FC9C53FB0A2F}" destId="{04175478-403B-4F75-A640-32FEE24CAA2A}" srcOrd="2" destOrd="0" parTransId="{C36C191B-1DFB-4385-A58B-208A149B6D64}" sibTransId="{D255A5B4-CDDE-4E99-BE14-4722AF9E457B}"/>
    <dgm:cxn modelId="{6D870AA0-2B97-410D-9A96-B210AC74E558}" type="presOf" srcId="{04175478-403B-4F75-A640-32FEE24CAA2A}" destId="{B4DF9B10-E607-4D8B-9472-3321BF2D8044}" srcOrd="0" destOrd="0" presId="urn:microsoft.com/office/officeart/2005/8/layout/vList2"/>
    <dgm:cxn modelId="{51A241C8-82D6-470A-AED2-919B9EED4536}" srcId="{F0ED803D-3B4A-47B7-8EF7-439AE446A7E5}" destId="{CB13175F-74F0-40B8-8AE5-FB0435FA8544}" srcOrd="0" destOrd="0" parTransId="{E862D3A1-B1FB-466C-87C2-6FD84AEF0099}" sibTransId="{721BFC0C-67DB-4099-89A9-E082F2259D6E}"/>
    <dgm:cxn modelId="{5AFB7DD5-4C51-4035-B31B-F55AC7DD6F2A}" srcId="{F0ED803D-3B4A-47B7-8EF7-439AE446A7E5}" destId="{318C7229-2390-4334-BE0C-D75032F6CD96}" srcOrd="1" destOrd="0" parTransId="{710FB3AE-BA79-4620-977B-592CFC870380}" sibTransId="{B775CBC5-F464-4254-9B7C-4153CD8CAE4C}"/>
    <dgm:cxn modelId="{8CC73BEB-72F0-4F96-BC76-CDD1198DFE07}" srcId="{34B7789E-7B8F-4286-9EBF-FC9C53FB0A2F}" destId="{F0ED803D-3B4A-47B7-8EF7-439AE446A7E5}" srcOrd="0" destOrd="0" parTransId="{C98CDD90-84B4-4A54-8519-05410C0CA814}" sibTransId="{D976135F-EE7C-4735-9B5C-5449F09480CB}"/>
    <dgm:cxn modelId="{43BD7BED-EE88-44C7-8258-5A8E38DE1624}" srcId="{F0ED803D-3B4A-47B7-8EF7-439AE446A7E5}" destId="{296EA8D4-AE6A-4759-8331-3522E82DE052}" srcOrd="2" destOrd="0" parTransId="{92774EA2-C002-4906-B447-F62F0C820EB1}" sibTransId="{8941894A-FC59-4DF5-A0AE-FD8A160B9253}"/>
    <dgm:cxn modelId="{1EBB9B08-08CA-4B87-8D3C-1565F5B974EB}" type="presParOf" srcId="{21E811EA-4CE3-4D46-9296-5B14C36055D0}" destId="{00828E04-7117-40A4-BB3C-9B016BAD91D0}" srcOrd="0" destOrd="0" presId="urn:microsoft.com/office/officeart/2005/8/layout/vList2"/>
    <dgm:cxn modelId="{495A28BE-1A1C-43D3-B6EA-BF6CC5E8A71C}" type="presParOf" srcId="{21E811EA-4CE3-4D46-9296-5B14C36055D0}" destId="{08C4DB6B-A884-46CE-908B-7ABDC238CEDC}" srcOrd="1" destOrd="0" presId="urn:microsoft.com/office/officeart/2005/8/layout/vList2"/>
    <dgm:cxn modelId="{D099FA5E-9EC5-4436-97D3-F16FAA784680}" type="presParOf" srcId="{21E811EA-4CE3-4D46-9296-5B14C36055D0}" destId="{994FCE12-DCC1-4650-9E42-84BC66652CCC}" srcOrd="2" destOrd="0" presId="urn:microsoft.com/office/officeart/2005/8/layout/vList2"/>
    <dgm:cxn modelId="{615D8A93-BE52-4B38-B114-9D4C664B3FE1}" type="presParOf" srcId="{21E811EA-4CE3-4D46-9296-5B14C36055D0}" destId="{2C7F3373-0E19-4B86-8E39-3B512E4F18FC}" srcOrd="3" destOrd="0" presId="urn:microsoft.com/office/officeart/2005/8/layout/vList2"/>
    <dgm:cxn modelId="{3BE72A81-DF73-4491-8915-7992E2E90ECF}" type="presParOf" srcId="{21E811EA-4CE3-4D46-9296-5B14C36055D0}" destId="{B4DF9B10-E607-4D8B-9472-3321BF2D8044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8E33D93A-56A7-4DC0-84B3-D6B5D8464637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AF7AB39F-18FE-451F-8BCA-59E53C0E07DD}">
      <dgm:prSet custT="1"/>
      <dgm:spPr/>
      <dgm:t>
        <a:bodyPr/>
        <a:lstStyle/>
        <a:p>
          <a:pPr rtl="0"/>
          <a:r>
            <a:rPr lang="en-US" sz="2000" dirty="0"/>
            <a:t>Achieve proficiency in teaching to different types of learners and in a variety of clinical settings </a:t>
          </a:r>
        </a:p>
      </dgm:t>
    </dgm:pt>
    <dgm:pt modelId="{4155E6CD-FAD5-4F89-856D-E461D61308BF}" type="parTrans" cxnId="{4C2730E6-BEB0-4D20-94C2-0CFDACBD86B3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B848D3F8-9FF1-440F-9C89-4BB8327DF8A6}" type="sibTrans" cxnId="{4C2730E6-BEB0-4D20-94C2-0CFDACBD86B3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64A764A1-3416-46A6-9A2F-A3AF4C294A98}">
      <dgm:prSet custT="1"/>
      <dgm:spPr/>
      <dgm:t>
        <a:bodyPr/>
        <a:lstStyle/>
        <a:p>
          <a:pPr rtl="0"/>
          <a:r>
            <a:rPr lang="en-US" sz="2000"/>
            <a:t>Teach at the bedside</a:t>
          </a:r>
          <a:endParaRPr lang="en-US" sz="2000" dirty="0"/>
        </a:p>
      </dgm:t>
    </dgm:pt>
    <dgm:pt modelId="{DA7F1FB6-AF51-43CB-927C-16460D3F3978}" type="parTrans" cxnId="{D33BA02A-236E-4259-89E1-60C1B5D08F19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6C27CA6D-48DD-49AD-A83E-01513AEEBBB6}" type="sibTrans" cxnId="{D33BA02A-236E-4259-89E1-60C1B5D08F19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CD148029-9A8A-42BA-AB60-6F2A293BAD7F}">
      <dgm:prSet custT="1"/>
      <dgm:spPr/>
      <dgm:t>
        <a:bodyPr/>
        <a:lstStyle/>
        <a:p>
          <a:pPr rtl="0"/>
          <a:r>
            <a:rPr lang="en-US" sz="2000" dirty="0"/>
            <a:t>TCH main and WC (resident and med student supervision)</a:t>
          </a:r>
        </a:p>
      </dgm:t>
    </dgm:pt>
    <dgm:pt modelId="{B0B0D626-263B-4881-97CF-FA680AFD6CD5}" type="parTrans" cxnId="{74C29194-1926-4A5B-8518-8C999622AD0C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12B9CE30-8259-4347-951C-5211B09D448B}" type="sibTrans" cxnId="{74C29194-1926-4A5B-8518-8C999622AD0C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BF4A4941-CCC8-4CEF-918E-5D29A814FC83}">
      <dgm:prSet custT="1"/>
      <dgm:spPr/>
      <dgm:t>
        <a:bodyPr/>
        <a:lstStyle/>
        <a:p>
          <a:pPr rtl="0"/>
          <a:r>
            <a:rPr lang="en-US" sz="2000" dirty="0"/>
            <a:t>Core medical student teaching shifts (1p-6p Tues)</a:t>
          </a:r>
        </a:p>
      </dgm:t>
    </dgm:pt>
    <dgm:pt modelId="{10E5B2E5-C70E-4B1B-870F-8F5B762B4B7F}" type="parTrans" cxnId="{F3F6C00A-7BE3-4037-8C62-79CEDE9EB12E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14DDA79F-B978-4F97-AD9B-3B110FDA0B3F}" type="sibTrans" cxnId="{F3F6C00A-7BE3-4037-8C62-79CEDE9EB12E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3476EA64-4A3D-46B7-8F21-22D1BA9665F5}">
      <dgm:prSet custT="1"/>
      <dgm:spPr/>
      <dgm:t>
        <a:bodyPr/>
        <a:lstStyle/>
        <a:p>
          <a:pPr rtl="0"/>
          <a:r>
            <a:rPr lang="en-US" sz="2000"/>
            <a:t>EC rounds</a:t>
          </a:r>
          <a:endParaRPr lang="en-US" sz="2000" dirty="0"/>
        </a:p>
      </dgm:t>
    </dgm:pt>
    <dgm:pt modelId="{2501A4D0-F17E-403E-B6D6-CFC60E9AAA1F}" type="parTrans" cxnId="{54571219-53C6-476C-99EA-22302C4B97EE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FEB29B15-2150-4249-BB25-7D33ED5082CF}" type="sibTrans" cxnId="{54571219-53C6-476C-99EA-22302C4B97EE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E828843C-1570-40F8-BDBC-A932D7FDD7A2}">
      <dgm:prSet custT="1"/>
      <dgm:spPr/>
      <dgm:t>
        <a:bodyPr/>
        <a:lstStyle/>
        <a:p>
          <a:pPr rtl="0"/>
          <a:r>
            <a:rPr lang="en-US" sz="2000"/>
            <a:t>Lead small and large group discussions</a:t>
          </a:r>
        </a:p>
      </dgm:t>
    </dgm:pt>
    <dgm:pt modelId="{5073A88F-CBF9-46C2-934E-F1478A9B9E63}" type="parTrans" cxnId="{B5B96DFA-73B9-4380-A45D-29B68D4DFE08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45AAC841-ADDE-43EE-B79B-191EE7EA1E60}" type="sibTrans" cxnId="{B5B96DFA-73B9-4380-A45D-29B68D4DFE08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E8919D56-1705-4142-8875-72A90402F72E}">
      <dgm:prSet custT="1"/>
      <dgm:spPr/>
      <dgm:t>
        <a:bodyPr/>
        <a:lstStyle/>
        <a:p>
          <a:pPr rtl="0"/>
          <a:r>
            <a:rPr lang="en-US" sz="2000"/>
            <a:t>Prepare and present lectures</a:t>
          </a:r>
        </a:p>
      </dgm:t>
    </dgm:pt>
    <dgm:pt modelId="{629F92AF-2B24-43A3-9FAE-F51DA841DDCF}" type="parTrans" cxnId="{A97FC2F7-C0C6-47DC-83EB-091952D3BBCE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E0135964-1FFC-4017-8949-3BEDD1A5E908}" type="sibTrans" cxnId="{A97FC2F7-C0C6-47DC-83EB-091952D3BBCE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64B91A7E-FD38-4D5D-AF32-C019D55EC071}">
      <dgm:prSet custT="1"/>
      <dgm:spPr/>
      <dgm:t>
        <a:bodyPr/>
        <a:lstStyle/>
        <a:p>
          <a:pPr rtl="0"/>
          <a:r>
            <a:rPr lang="en-US" sz="2000" dirty="0"/>
            <a:t>Become PALS instructors and/or simulation instructors</a:t>
          </a:r>
        </a:p>
      </dgm:t>
    </dgm:pt>
    <dgm:pt modelId="{0BF74CEF-E6E5-4C5E-B412-16556F384C5F}" type="parTrans" cxnId="{4FFE4509-A7B3-41A7-9171-6852CFE0B0E5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26DBD082-21FC-45E5-93FC-BCAABBAF60AE}" type="sibTrans" cxnId="{4FFE4509-A7B3-41A7-9171-6852CFE0B0E5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A6FFA056-0D01-4E14-B0FF-17032D218713}" type="pres">
      <dgm:prSet presAssocID="{8E33D93A-56A7-4DC0-84B3-D6B5D8464637}" presName="linear" presStyleCnt="0">
        <dgm:presLayoutVars>
          <dgm:animLvl val="lvl"/>
          <dgm:resizeHandles val="exact"/>
        </dgm:presLayoutVars>
      </dgm:prSet>
      <dgm:spPr/>
    </dgm:pt>
    <dgm:pt modelId="{6DC7BDBE-936B-437D-B746-440B3CEC2B5D}" type="pres">
      <dgm:prSet presAssocID="{AF7AB39F-18FE-451F-8BCA-59E53C0E07DD}" presName="parentText" presStyleLbl="node1" presStyleIdx="0" presStyleCnt="6" custLinFactNeighborX="877" custLinFactNeighborY="-1389">
        <dgm:presLayoutVars>
          <dgm:chMax val="0"/>
          <dgm:bulletEnabled val="1"/>
        </dgm:presLayoutVars>
      </dgm:prSet>
      <dgm:spPr/>
    </dgm:pt>
    <dgm:pt modelId="{BA778F08-5367-428E-AFA6-01F006F49C0C}" type="pres">
      <dgm:prSet presAssocID="{B848D3F8-9FF1-440F-9C89-4BB8327DF8A6}" presName="spacer" presStyleCnt="0"/>
      <dgm:spPr/>
    </dgm:pt>
    <dgm:pt modelId="{1B8FEFC9-B22F-4BA1-8F00-39AAA1D2AFB0}" type="pres">
      <dgm:prSet presAssocID="{64A764A1-3416-46A6-9A2F-A3AF4C294A98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9CDBB6CE-7E44-4393-8992-C1DA12411A07}" type="pres">
      <dgm:prSet presAssocID="{64A764A1-3416-46A6-9A2F-A3AF4C294A98}" presName="childText" presStyleLbl="revTx" presStyleIdx="0" presStyleCnt="1">
        <dgm:presLayoutVars>
          <dgm:bulletEnabled val="1"/>
        </dgm:presLayoutVars>
      </dgm:prSet>
      <dgm:spPr/>
    </dgm:pt>
    <dgm:pt modelId="{024C54D6-A683-419B-AE0C-0EAB7DD67EE0}" type="pres">
      <dgm:prSet presAssocID="{3476EA64-4A3D-46B7-8F21-22D1BA9665F5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A58D12D6-4D0F-43EB-86A3-25C8D256711E}" type="pres">
      <dgm:prSet presAssocID="{FEB29B15-2150-4249-BB25-7D33ED5082CF}" presName="spacer" presStyleCnt="0"/>
      <dgm:spPr/>
    </dgm:pt>
    <dgm:pt modelId="{E0E8B521-14B1-4733-8C7E-98F95C0B192B}" type="pres">
      <dgm:prSet presAssocID="{E828843C-1570-40F8-BDBC-A932D7FDD7A2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190AB29A-C751-43F7-A1AE-3C0381683759}" type="pres">
      <dgm:prSet presAssocID="{45AAC841-ADDE-43EE-B79B-191EE7EA1E60}" presName="spacer" presStyleCnt="0"/>
      <dgm:spPr/>
    </dgm:pt>
    <dgm:pt modelId="{0AD35089-8020-4AA2-AB11-20957BF034C1}" type="pres">
      <dgm:prSet presAssocID="{E8919D56-1705-4142-8875-72A90402F72E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DF0F62CF-1F02-4832-9593-9FC6CFBCF354}" type="pres">
      <dgm:prSet presAssocID="{E0135964-1FFC-4017-8949-3BEDD1A5E908}" presName="spacer" presStyleCnt="0"/>
      <dgm:spPr/>
    </dgm:pt>
    <dgm:pt modelId="{74394E88-3206-4D94-8B22-F954A7CD1597}" type="pres">
      <dgm:prSet presAssocID="{64B91A7E-FD38-4D5D-AF32-C019D55EC071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4FFE4509-A7B3-41A7-9171-6852CFE0B0E5}" srcId="{8E33D93A-56A7-4DC0-84B3-D6B5D8464637}" destId="{64B91A7E-FD38-4D5D-AF32-C019D55EC071}" srcOrd="5" destOrd="0" parTransId="{0BF74CEF-E6E5-4C5E-B412-16556F384C5F}" sibTransId="{26DBD082-21FC-45E5-93FC-BCAABBAF60AE}"/>
    <dgm:cxn modelId="{F3F6C00A-7BE3-4037-8C62-79CEDE9EB12E}" srcId="{64A764A1-3416-46A6-9A2F-A3AF4C294A98}" destId="{BF4A4941-CCC8-4CEF-918E-5D29A814FC83}" srcOrd="1" destOrd="0" parTransId="{10E5B2E5-C70E-4B1B-870F-8F5B762B4B7F}" sibTransId="{14DDA79F-B978-4F97-AD9B-3B110FDA0B3F}"/>
    <dgm:cxn modelId="{8423AE10-708F-4D4C-B1F1-7049E2731245}" type="presOf" srcId="{3476EA64-4A3D-46B7-8F21-22D1BA9665F5}" destId="{024C54D6-A683-419B-AE0C-0EAB7DD67EE0}" srcOrd="0" destOrd="0" presId="urn:microsoft.com/office/officeart/2005/8/layout/vList2"/>
    <dgm:cxn modelId="{54571219-53C6-476C-99EA-22302C4B97EE}" srcId="{8E33D93A-56A7-4DC0-84B3-D6B5D8464637}" destId="{3476EA64-4A3D-46B7-8F21-22D1BA9665F5}" srcOrd="2" destOrd="0" parTransId="{2501A4D0-F17E-403E-B6D6-CFC60E9AAA1F}" sibTransId="{FEB29B15-2150-4249-BB25-7D33ED5082CF}"/>
    <dgm:cxn modelId="{D33BA02A-236E-4259-89E1-60C1B5D08F19}" srcId="{8E33D93A-56A7-4DC0-84B3-D6B5D8464637}" destId="{64A764A1-3416-46A6-9A2F-A3AF4C294A98}" srcOrd="1" destOrd="0" parTransId="{DA7F1FB6-AF51-43CB-927C-16460D3F3978}" sibTransId="{6C27CA6D-48DD-49AD-A83E-01513AEEBBB6}"/>
    <dgm:cxn modelId="{CC0DD62E-4F14-41DA-BC18-6FD99394CFA7}" type="presOf" srcId="{E8919D56-1705-4142-8875-72A90402F72E}" destId="{0AD35089-8020-4AA2-AB11-20957BF034C1}" srcOrd="0" destOrd="0" presId="urn:microsoft.com/office/officeart/2005/8/layout/vList2"/>
    <dgm:cxn modelId="{E3DE3135-EB8B-4031-BEAB-8A909252D9FA}" type="presOf" srcId="{BF4A4941-CCC8-4CEF-918E-5D29A814FC83}" destId="{9CDBB6CE-7E44-4393-8992-C1DA12411A07}" srcOrd="0" destOrd="1" presId="urn:microsoft.com/office/officeart/2005/8/layout/vList2"/>
    <dgm:cxn modelId="{B65FAC35-2B16-4363-B188-D27D4692CD33}" type="presOf" srcId="{64B91A7E-FD38-4D5D-AF32-C019D55EC071}" destId="{74394E88-3206-4D94-8B22-F954A7CD1597}" srcOrd="0" destOrd="0" presId="urn:microsoft.com/office/officeart/2005/8/layout/vList2"/>
    <dgm:cxn modelId="{595EE659-CC4E-4B3D-9133-2535D4B32CD9}" type="presOf" srcId="{CD148029-9A8A-42BA-AB60-6F2A293BAD7F}" destId="{9CDBB6CE-7E44-4393-8992-C1DA12411A07}" srcOrd="0" destOrd="0" presId="urn:microsoft.com/office/officeart/2005/8/layout/vList2"/>
    <dgm:cxn modelId="{BEDF3A5E-81F3-4779-B477-E7521CF7471F}" type="presOf" srcId="{64A764A1-3416-46A6-9A2F-A3AF4C294A98}" destId="{1B8FEFC9-B22F-4BA1-8F00-39AAA1D2AFB0}" srcOrd="0" destOrd="0" presId="urn:microsoft.com/office/officeart/2005/8/layout/vList2"/>
    <dgm:cxn modelId="{1FE7F890-B7DE-4177-8422-DC7EA24EB862}" type="presOf" srcId="{AF7AB39F-18FE-451F-8BCA-59E53C0E07DD}" destId="{6DC7BDBE-936B-437D-B746-440B3CEC2B5D}" srcOrd="0" destOrd="0" presId="urn:microsoft.com/office/officeart/2005/8/layout/vList2"/>
    <dgm:cxn modelId="{74C29194-1926-4A5B-8518-8C999622AD0C}" srcId="{64A764A1-3416-46A6-9A2F-A3AF4C294A98}" destId="{CD148029-9A8A-42BA-AB60-6F2A293BAD7F}" srcOrd="0" destOrd="0" parTransId="{B0B0D626-263B-4881-97CF-FA680AFD6CD5}" sibTransId="{12B9CE30-8259-4347-951C-5211B09D448B}"/>
    <dgm:cxn modelId="{CC8F2F96-600C-40FB-882E-9C25A6B0DF03}" type="presOf" srcId="{8E33D93A-56A7-4DC0-84B3-D6B5D8464637}" destId="{A6FFA056-0D01-4E14-B0FF-17032D218713}" srcOrd="0" destOrd="0" presId="urn:microsoft.com/office/officeart/2005/8/layout/vList2"/>
    <dgm:cxn modelId="{353CB1C4-BAC4-4733-85FF-B07CC4BA15FF}" type="presOf" srcId="{E828843C-1570-40F8-BDBC-A932D7FDD7A2}" destId="{E0E8B521-14B1-4733-8C7E-98F95C0B192B}" srcOrd="0" destOrd="0" presId="urn:microsoft.com/office/officeart/2005/8/layout/vList2"/>
    <dgm:cxn modelId="{4C2730E6-BEB0-4D20-94C2-0CFDACBD86B3}" srcId="{8E33D93A-56A7-4DC0-84B3-D6B5D8464637}" destId="{AF7AB39F-18FE-451F-8BCA-59E53C0E07DD}" srcOrd="0" destOrd="0" parTransId="{4155E6CD-FAD5-4F89-856D-E461D61308BF}" sibTransId="{B848D3F8-9FF1-440F-9C89-4BB8327DF8A6}"/>
    <dgm:cxn modelId="{A97FC2F7-C0C6-47DC-83EB-091952D3BBCE}" srcId="{8E33D93A-56A7-4DC0-84B3-D6B5D8464637}" destId="{E8919D56-1705-4142-8875-72A90402F72E}" srcOrd="4" destOrd="0" parTransId="{629F92AF-2B24-43A3-9FAE-F51DA841DDCF}" sibTransId="{E0135964-1FFC-4017-8949-3BEDD1A5E908}"/>
    <dgm:cxn modelId="{B5B96DFA-73B9-4380-A45D-29B68D4DFE08}" srcId="{8E33D93A-56A7-4DC0-84B3-D6B5D8464637}" destId="{E828843C-1570-40F8-BDBC-A932D7FDD7A2}" srcOrd="3" destOrd="0" parTransId="{5073A88F-CBF9-46C2-934E-F1478A9B9E63}" sibTransId="{45AAC841-ADDE-43EE-B79B-191EE7EA1E60}"/>
    <dgm:cxn modelId="{67E36086-0B61-4296-9E73-0253639ED818}" type="presParOf" srcId="{A6FFA056-0D01-4E14-B0FF-17032D218713}" destId="{6DC7BDBE-936B-437D-B746-440B3CEC2B5D}" srcOrd="0" destOrd="0" presId="urn:microsoft.com/office/officeart/2005/8/layout/vList2"/>
    <dgm:cxn modelId="{7FA8A92A-7D33-4D60-ACDD-C5801F475D91}" type="presParOf" srcId="{A6FFA056-0D01-4E14-B0FF-17032D218713}" destId="{BA778F08-5367-428E-AFA6-01F006F49C0C}" srcOrd="1" destOrd="0" presId="urn:microsoft.com/office/officeart/2005/8/layout/vList2"/>
    <dgm:cxn modelId="{D547184B-8F42-4635-BD2B-D42E927A67B6}" type="presParOf" srcId="{A6FFA056-0D01-4E14-B0FF-17032D218713}" destId="{1B8FEFC9-B22F-4BA1-8F00-39AAA1D2AFB0}" srcOrd="2" destOrd="0" presId="urn:microsoft.com/office/officeart/2005/8/layout/vList2"/>
    <dgm:cxn modelId="{15CDEE5C-CE83-422C-8263-AB681004C2FD}" type="presParOf" srcId="{A6FFA056-0D01-4E14-B0FF-17032D218713}" destId="{9CDBB6CE-7E44-4393-8992-C1DA12411A07}" srcOrd="3" destOrd="0" presId="urn:microsoft.com/office/officeart/2005/8/layout/vList2"/>
    <dgm:cxn modelId="{8B874CF4-380C-4F28-9393-776C522B9BF4}" type="presParOf" srcId="{A6FFA056-0D01-4E14-B0FF-17032D218713}" destId="{024C54D6-A683-419B-AE0C-0EAB7DD67EE0}" srcOrd="4" destOrd="0" presId="urn:microsoft.com/office/officeart/2005/8/layout/vList2"/>
    <dgm:cxn modelId="{30A0FEC1-48D0-45AA-A769-01B3964C2289}" type="presParOf" srcId="{A6FFA056-0D01-4E14-B0FF-17032D218713}" destId="{A58D12D6-4D0F-43EB-86A3-25C8D256711E}" srcOrd="5" destOrd="0" presId="urn:microsoft.com/office/officeart/2005/8/layout/vList2"/>
    <dgm:cxn modelId="{FFC9E6C8-0854-49AD-A219-58EB6FC65C26}" type="presParOf" srcId="{A6FFA056-0D01-4E14-B0FF-17032D218713}" destId="{E0E8B521-14B1-4733-8C7E-98F95C0B192B}" srcOrd="6" destOrd="0" presId="urn:microsoft.com/office/officeart/2005/8/layout/vList2"/>
    <dgm:cxn modelId="{A70059B8-A787-43A0-96A9-2FC07909EC91}" type="presParOf" srcId="{A6FFA056-0D01-4E14-B0FF-17032D218713}" destId="{190AB29A-C751-43F7-A1AE-3C0381683759}" srcOrd="7" destOrd="0" presId="urn:microsoft.com/office/officeart/2005/8/layout/vList2"/>
    <dgm:cxn modelId="{21B72E65-1304-45AE-A9B7-6ACD187A1ED1}" type="presParOf" srcId="{A6FFA056-0D01-4E14-B0FF-17032D218713}" destId="{0AD35089-8020-4AA2-AB11-20957BF034C1}" srcOrd="8" destOrd="0" presId="urn:microsoft.com/office/officeart/2005/8/layout/vList2"/>
    <dgm:cxn modelId="{B4A291CF-A468-49C8-927D-F977DC5B5CCB}" type="presParOf" srcId="{A6FFA056-0D01-4E14-B0FF-17032D218713}" destId="{DF0F62CF-1F02-4832-9593-9FC6CFBCF354}" srcOrd="9" destOrd="0" presId="urn:microsoft.com/office/officeart/2005/8/layout/vList2"/>
    <dgm:cxn modelId="{90FFC4E7-4AAA-422B-83BF-E5A4C682F91A}" type="presParOf" srcId="{A6FFA056-0D01-4E14-B0FF-17032D218713}" destId="{74394E88-3206-4D94-8B22-F954A7CD1597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DB23F2E4-76B9-4EC8-B005-981250144F6F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1E63BE0F-0CFC-4833-AD6C-C875188D07B1}">
      <dgm:prSet/>
      <dgm:spPr/>
      <dgm:t>
        <a:bodyPr/>
        <a:lstStyle/>
        <a:p>
          <a:pPr rtl="0"/>
          <a:r>
            <a:rPr lang="en-US"/>
            <a:t>Acquire skills necessary for ED management</a:t>
          </a:r>
          <a:endParaRPr lang="en-US" dirty="0"/>
        </a:p>
      </dgm:t>
    </dgm:pt>
    <dgm:pt modelId="{349CB423-825A-41A9-9A5B-A2A6E67B2711}" type="parTrans" cxnId="{73DEA57F-B2BE-4607-87A3-64726502B46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5CC7DFA-F8B7-407A-BBC2-6715E0379D5B}" type="sibTrans" cxnId="{73DEA57F-B2BE-4607-87A3-64726502B46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0682F09-4072-4EB4-987C-496EE93FD8A3}">
      <dgm:prSet/>
      <dgm:spPr/>
      <dgm:t>
        <a:bodyPr/>
        <a:lstStyle/>
        <a:p>
          <a:pPr rtl="0"/>
          <a:r>
            <a:rPr lang="en-US"/>
            <a:t>Supervise physician trainees</a:t>
          </a:r>
        </a:p>
      </dgm:t>
    </dgm:pt>
    <dgm:pt modelId="{20D210B1-1EC2-41B0-9094-CB1A74B27866}" type="parTrans" cxnId="{0BD5FF10-8B9D-467F-8682-0CE8F42FD22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FD6CD71C-5E5F-4E34-B4AC-08A806541926}" type="sibTrans" cxnId="{0BD5FF10-8B9D-467F-8682-0CE8F42FD22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65EB78A-AF52-47D6-AB41-5E98D863E16A}">
      <dgm:prSet/>
      <dgm:spPr/>
      <dgm:t>
        <a:bodyPr/>
        <a:lstStyle/>
        <a:p>
          <a:pPr rtl="0"/>
          <a:r>
            <a:rPr lang="en-US" dirty="0"/>
            <a:t>Manage personnel </a:t>
          </a:r>
        </a:p>
      </dgm:t>
    </dgm:pt>
    <dgm:pt modelId="{82A60727-5F0B-43A9-B1AB-16E5B3CCC89C}" type="parTrans" cxnId="{8C41BF27-73B6-4EA9-B0F8-7110EE4F1A4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ADCD255-2093-455B-AE1F-AD371DF0FB03}" type="sibTrans" cxnId="{8C41BF27-73B6-4EA9-B0F8-7110EE4F1A4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A12380B-489D-4771-BCDE-600E54495869}">
      <dgm:prSet/>
      <dgm:spPr/>
      <dgm:t>
        <a:bodyPr/>
        <a:lstStyle/>
        <a:p>
          <a:pPr rtl="0"/>
          <a:r>
            <a:rPr lang="en-US"/>
            <a:t>Serve as team lead during resuscitations</a:t>
          </a:r>
        </a:p>
      </dgm:t>
    </dgm:pt>
    <dgm:pt modelId="{488F9C9F-1732-4CA4-9141-A195AD781048}" type="parTrans" cxnId="{405BFB4F-75FE-4237-8F53-BE6B6B6658D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DB080B5-062D-45E3-BEBF-378794170847}" type="sibTrans" cxnId="{405BFB4F-75FE-4237-8F53-BE6B6B6658D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B060FD9-6A43-45C8-8C17-FAAB0A1EEA0A}">
      <dgm:prSet/>
      <dgm:spPr/>
      <dgm:t>
        <a:bodyPr/>
        <a:lstStyle/>
        <a:p>
          <a:pPr rtl="0"/>
          <a:r>
            <a:rPr lang="en-US"/>
            <a:t>Manage patient throughput</a:t>
          </a:r>
        </a:p>
      </dgm:t>
    </dgm:pt>
    <dgm:pt modelId="{6F8A1225-B572-43DD-9BB3-C174110FE658}" type="parTrans" cxnId="{45566A6A-3BEC-4F7D-AFC4-88793A2353E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8E4C2AD-534E-4192-AF0B-3ADAA04F0996}" type="sibTrans" cxnId="{45566A6A-3BEC-4F7D-AFC4-88793A2353E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BC5CD5A-3B63-4E25-A9D7-9B0DDD7175F1}">
      <dgm:prSet/>
      <dgm:spPr/>
      <dgm:t>
        <a:bodyPr/>
        <a:lstStyle/>
        <a:p>
          <a:pPr rtl="0"/>
          <a:r>
            <a:rPr lang="en-US"/>
            <a:t>Practice appropriate medical record documentation</a:t>
          </a:r>
          <a:endParaRPr lang="en-US" dirty="0"/>
        </a:p>
      </dgm:t>
    </dgm:pt>
    <dgm:pt modelId="{1B915FAD-54B2-4E42-BD51-5ABE2E4B914D}" type="parTrans" cxnId="{16739E27-55E9-44F1-9B4F-C6002BD16F2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B02AFC1-A9D8-4511-9F7B-DFC529520480}" type="sibTrans" cxnId="{16739E27-55E9-44F1-9B4F-C6002BD16F2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3E2F27C-B45B-4A88-B035-A8919AB3FA1A}">
      <dgm:prSet/>
      <dgm:spPr/>
      <dgm:t>
        <a:bodyPr/>
        <a:lstStyle/>
        <a:p>
          <a:pPr rtl="0"/>
          <a:r>
            <a:rPr lang="en-US"/>
            <a:t>Relay information regarding patient care delivered</a:t>
          </a:r>
        </a:p>
      </dgm:t>
    </dgm:pt>
    <dgm:pt modelId="{D5ADA867-5F80-4FEE-AD8C-68E4EE14C6B6}" type="parTrans" cxnId="{FDDECB23-87B9-49B7-84D8-01423F5467F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A65CF71-1EC9-40A0-B02F-BC0FFBE16ABD}" type="sibTrans" cxnId="{FDDECB23-87B9-49B7-84D8-01423F5467F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4D855E4-13EB-4039-906F-B49980FC1898}">
      <dgm:prSet/>
      <dgm:spPr/>
      <dgm:t>
        <a:bodyPr/>
        <a:lstStyle/>
        <a:p>
          <a:pPr rtl="0"/>
          <a:r>
            <a:rPr lang="en-US"/>
            <a:t>Document medical decision making processes</a:t>
          </a:r>
        </a:p>
      </dgm:t>
    </dgm:pt>
    <dgm:pt modelId="{12C34D30-594C-4700-8C58-1D5DB84E0DE2}" type="parTrans" cxnId="{4C9D2309-B8C4-4E13-ADD8-C8C0EB03F51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257DD71-5153-4AC9-9200-5F4CE562ACC4}" type="sibTrans" cxnId="{4C9D2309-B8C4-4E13-ADD8-C8C0EB03F51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02C9297-6790-48E7-8135-71BFCB3A5F14}">
      <dgm:prSet/>
      <dgm:spPr/>
      <dgm:t>
        <a:bodyPr/>
        <a:lstStyle/>
        <a:p>
          <a:pPr rtl="0"/>
          <a:r>
            <a:rPr lang="en-US"/>
            <a:t>Support billing for medical care provided</a:t>
          </a:r>
        </a:p>
      </dgm:t>
    </dgm:pt>
    <dgm:pt modelId="{2B75B166-3171-4FAD-9E00-CA9B9A7A2EA8}" type="parTrans" cxnId="{D2786D20-1ABE-407C-8AF9-6863FD2D013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99DF1B1-AC39-467F-BABB-C20EB68BAA54}" type="sibTrans" cxnId="{D2786D20-1ABE-407C-8AF9-6863FD2D013E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74B1DA2-EF16-43C2-B12F-4393760C1163}">
      <dgm:prSet/>
      <dgm:spPr/>
      <dgm:t>
        <a:bodyPr/>
        <a:lstStyle/>
        <a:p>
          <a:pPr rtl="0"/>
          <a:r>
            <a:rPr lang="en-US"/>
            <a:t>Gain exposure to financial management in health care</a:t>
          </a:r>
          <a:endParaRPr lang="en-US" dirty="0"/>
        </a:p>
      </dgm:t>
    </dgm:pt>
    <dgm:pt modelId="{45AA5184-ABAF-4ED8-878F-C4CA67653702}" type="parTrans" cxnId="{3E7693CB-9D6B-49A9-8A19-4A7B6DC3CFF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268322A-B375-493D-AFDF-225C98010A8E}" type="sibTrans" cxnId="{3E7693CB-9D6B-49A9-8A19-4A7B6DC3CFF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1BCB6DF-2A25-4958-A7B2-17337B48BCE1}">
      <dgm:prSet/>
      <dgm:spPr/>
      <dgm:t>
        <a:bodyPr/>
        <a:lstStyle/>
        <a:p>
          <a:pPr rtl="0"/>
          <a:r>
            <a:rPr lang="en-US"/>
            <a:t>Develop leadership skills</a:t>
          </a:r>
          <a:endParaRPr lang="en-US" dirty="0"/>
        </a:p>
      </dgm:t>
    </dgm:pt>
    <dgm:pt modelId="{F1CC9928-4C76-4011-B447-BAFDDA5E3BB0}" type="parTrans" cxnId="{6723204C-1C84-4F53-B17C-AD1D0E0CC7F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71545E4-E426-4561-8985-BF8F42497017}" type="sibTrans" cxnId="{6723204C-1C84-4F53-B17C-AD1D0E0CC7F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B3337AA-DF85-49DE-89FC-21D18E52AB3E}" type="pres">
      <dgm:prSet presAssocID="{DB23F2E4-76B9-4EC8-B005-981250144F6F}" presName="linear" presStyleCnt="0">
        <dgm:presLayoutVars>
          <dgm:animLvl val="lvl"/>
          <dgm:resizeHandles val="exact"/>
        </dgm:presLayoutVars>
      </dgm:prSet>
      <dgm:spPr/>
    </dgm:pt>
    <dgm:pt modelId="{51B49227-3D88-40E2-8B4E-A171CA2948AE}" type="pres">
      <dgm:prSet presAssocID="{1E63BE0F-0CFC-4833-AD6C-C875188D07B1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15046B69-B67A-4C5F-9D50-F8AA0A901492}" type="pres">
      <dgm:prSet presAssocID="{1E63BE0F-0CFC-4833-AD6C-C875188D07B1}" presName="childText" presStyleLbl="revTx" presStyleIdx="0" presStyleCnt="2">
        <dgm:presLayoutVars>
          <dgm:bulletEnabled val="1"/>
        </dgm:presLayoutVars>
      </dgm:prSet>
      <dgm:spPr/>
    </dgm:pt>
    <dgm:pt modelId="{B1E3C888-9293-438E-BB17-8F131AC64714}" type="pres">
      <dgm:prSet presAssocID="{9BC5CD5A-3B63-4E25-A9D7-9B0DDD7175F1}" presName="parentText" presStyleLbl="node1" presStyleIdx="1" presStyleCnt="4" custLinFactNeighborX="992" custLinFactNeighborY="887">
        <dgm:presLayoutVars>
          <dgm:chMax val="0"/>
          <dgm:bulletEnabled val="1"/>
        </dgm:presLayoutVars>
      </dgm:prSet>
      <dgm:spPr/>
    </dgm:pt>
    <dgm:pt modelId="{94278271-9806-4244-9DC7-5CA5F893FA12}" type="pres">
      <dgm:prSet presAssocID="{9BC5CD5A-3B63-4E25-A9D7-9B0DDD7175F1}" presName="childText" presStyleLbl="revTx" presStyleIdx="1" presStyleCnt="2">
        <dgm:presLayoutVars>
          <dgm:bulletEnabled val="1"/>
        </dgm:presLayoutVars>
      </dgm:prSet>
      <dgm:spPr/>
    </dgm:pt>
    <dgm:pt modelId="{3B83A9E1-E2DD-4871-AD8D-FAE55A5F1CC5}" type="pres">
      <dgm:prSet presAssocID="{774B1DA2-EF16-43C2-B12F-4393760C1163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7FC667AF-C761-4A7B-9FC6-6006131D6EED}" type="pres">
      <dgm:prSet presAssocID="{4268322A-B375-493D-AFDF-225C98010A8E}" presName="spacer" presStyleCnt="0"/>
      <dgm:spPr/>
    </dgm:pt>
    <dgm:pt modelId="{64B83644-0F44-4AD5-BC51-38D054397A70}" type="pres">
      <dgm:prSet presAssocID="{01BCB6DF-2A25-4958-A7B2-17337B48BCE1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4C9D2309-B8C4-4E13-ADD8-C8C0EB03F518}" srcId="{9BC5CD5A-3B63-4E25-A9D7-9B0DDD7175F1}" destId="{C4D855E4-13EB-4039-906F-B49980FC1898}" srcOrd="1" destOrd="0" parTransId="{12C34D30-594C-4700-8C58-1D5DB84E0DE2}" sibTransId="{E257DD71-5153-4AC9-9200-5F4CE562ACC4}"/>
    <dgm:cxn modelId="{0BD5FF10-8B9D-467F-8682-0CE8F42FD229}" srcId="{1E63BE0F-0CFC-4833-AD6C-C875188D07B1}" destId="{E0682F09-4072-4EB4-987C-496EE93FD8A3}" srcOrd="0" destOrd="0" parTransId="{20D210B1-1EC2-41B0-9094-CB1A74B27866}" sibTransId="{FD6CD71C-5E5F-4E34-B4AC-08A806541926}"/>
    <dgm:cxn modelId="{D2786D20-1ABE-407C-8AF9-6863FD2D013E}" srcId="{9BC5CD5A-3B63-4E25-A9D7-9B0DDD7175F1}" destId="{802C9297-6790-48E7-8135-71BFCB3A5F14}" srcOrd="2" destOrd="0" parTransId="{2B75B166-3171-4FAD-9E00-CA9B9A7A2EA8}" sibTransId="{A99DF1B1-AC39-467F-BABB-C20EB68BAA54}"/>
    <dgm:cxn modelId="{FDDECB23-87B9-49B7-84D8-01423F5467F6}" srcId="{9BC5CD5A-3B63-4E25-A9D7-9B0DDD7175F1}" destId="{13E2F27C-B45B-4A88-B035-A8919AB3FA1A}" srcOrd="0" destOrd="0" parTransId="{D5ADA867-5F80-4FEE-AD8C-68E4EE14C6B6}" sibTransId="{4A65CF71-1EC9-40A0-B02F-BC0FFBE16ABD}"/>
    <dgm:cxn modelId="{16739E27-55E9-44F1-9B4F-C6002BD16F27}" srcId="{DB23F2E4-76B9-4EC8-B005-981250144F6F}" destId="{9BC5CD5A-3B63-4E25-A9D7-9B0DDD7175F1}" srcOrd="1" destOrd="0" parTransId="{1B915FAD-54B2-4E42-BD51-5ABE2E4B914D}" sibTransId="{CB02AFC1-A9D8-4511-9F7B-DFC529520480}"/>
    <dgm:cxn modelId="{8C41BF27-73B6-4EA9-B0F8-7110EE4F1A43}" srcId="{1E63BE0F-0CFC-4833-AD6C-C875188D07B1}" destId="{865EB78A-AF52-47D6-AB41-5E98D863E16A}" srcOrd="1" destOrd="0" parTransId="{82A60727-5F0B-43A9-B1AB-16E5B3CCC89C}" sibTransId="{EADCD255-2093-455B-AE1F-AD371DF0FB03}"/>
    <dgm:cxn modelId="{B0050129-E9C8-4552-9ED4-5F975940F058}" type="presOf" srcId="{774B1DA2-EF16-43C2-B12F-4393760C1163}" destId="{3B83A9E1-E2DD-4871-AD8D-FAE55A5F1CC5}" srcOrd="0" destOrd="0" presId="urn:microsoft.com/office/officeart/2005/8/layout/vList2"/>
    <dgm:cxn modelId="{6BF18D39-3699-4D90-823E-8B179ACAC4BF}" type="presOf" srcId="{1E63BE0F-0CFC-4833-AD6C-C875188D07B1}" destId="{51B49227-3D88-40E2-8B4E-A171CA2948AE}" srcOrd="0" destOrd="0" presId="urn:microsoft.com/office/officeart/2005/8/layout/vList2"/>
    <dgm:cxn modelId="{6723204C-1C84-4F53-B17C-AD1D0E0CC7F2}" srcId="{DB23F2E4-76B9-4EC8-B005-981250144F6F}" destId="{01BCB6DF-2A25-4958-A7B2-17337B48BCE1}" srcOrd="3" destOrd="0" parTransId="{F1CC9928-4C76-4011-B447-BAFDDA5E3BB0}" sibTransId="{671545E4-E426-4561-8985-BF8F42497017}"/>
    <dgm:cxn modelId="{62C5194E-1CA1-4574-9125-BC05649391A0}" type="presOf" srcId="{865EB78A-AF52-47D6-AB41-5E98D863E16A}" destId="{15046B69-B67A-4C5F-9D50-F8AA0A901492}" srcOrd="0" destOrd="1" presId="urn:microsoft.com/office/officeart/2005/8/layout/vList2"/>
    <dgm:cxn modelId="{405BFB4F-75FE-4237-8F53-BE6B6B6658D7}" srcId="{1E63BE0F-0CFC-4833-AD6C-C875188D07B1}" destId="{CA12380B-489D-4771-BCDE-600E54495869}" srcOrd="2" destOrd="0" parTransId="{488F9C9F-1732-4CA4-9141-A195AD781048}" sibTransId="{1DB080B5-062D-45E3-BEBF-378794170847}"/>
    <dgm:cxn modelId="{87EBED53-A770-42AF-A1D6-164B287317F0}" type="presOf" srcId="{802C9297-6790-48E7-8135-71BFCB3A5F14}" destId="{94278271-9806-4244-9DC7-5CA5F893FA12}" srcOrd="0" destOrd="2" presId="urn:microsoft.com/office/officeart/2005/8/layout/vList2"/>
    <dgm:cxn modelId="{88287658-609C-435C-B7B3-2AB0A921285B}" type="presOf" srcId="{CA12380B-489D-4771-BCDE-600E54495869}" destId="{15046B69-B67A-4C5F-9D50-F8AA0A901492}" srcOrd="0" destOrd="2" presId="urn:microsoft.com/office/officeart/2005/8/layout/vList2"/>
    <dgm:cxn modelId="{F5AFB664-D498-4729-8655-A5E71FA62249}" type="presOf" srcId="{13E2F27C-B45B-4A88-B035-A8919AB3FA1A}" destId="{94278271-9806-4244-9DC7-5CA5F893FA12}" srcOrd="0" destOrd="0" presId="urn:microsoft.com/office/officeart/2005/8/layout/vList2"/>
    <dgm:cxn modelId="{45566A6A-3BEC-4F7D-AFC4-88793A2353EF}" srcId="{1E63BE0F-0CFC-4833-AD6C-C875188D07B1}" destId="{EB060FD9-6A43-45C8-8C17-FAAB0A1EEA0A}" srcOrd="3" destOrd="0" parTransId="{6F8A1225-B572-43DD-9BB3-C174110FE658}" sibTransId="{58E4C2AD-534E-4192-AF0B-3ADAA04F0996}"/>
    <dgm:cxn modelId="{938D8A7E-9CBC-4D36-A1A8-5A9C258E0474}" type="presOf" srcId="{E0682F09-4072-4EB4-987C-496EE93FD8A3}" destId="{15046B69-B67A-4C5F-9D50-F8AA0A901492}" srcOrd="0" destOrd="0" presId="urn:microsoft.com/office/officeart/2005/8/layout/vList2"/>
    <dgm:cxn modelId="{73DEA57F-B2BE-4607-87A3-64726502B463}" srcId="{DB23F2E4-76B9-4EC8-B005-981250144F6F}" destId="{1E63BE0F-0CFC-4833-AD6C-C875188D07B1}" srcOrd="0" destOrd="0" parTransId="{349CB423-825A-41A9-9A5B-A2A6E67B2711}" sibTransId="{35CC7DFA-F8B7-407A-BBC2-6715E0379D5B}"/>
    <dgm:cxn modelId="{7B0CA584-5A12-4001-A782-90753BD811CD}" type="presOf" srcId="{EB060FD9-6A43-45C8-8C17-FAAB0A1EEA0A}" destId="{15046B69-B67A-4C5F-9D50-F8AA0A901492}" srcOrd="0" destOrd="3" presId="urn:microsoft.com/office/officeart/2005/8/layout/vList2"/>
    <dgm:cxn modelId="{3D0EC6B1-CBBD-4874-90A9-EB00FCBC0149}" type="presOf" srcId="{01BCB6DF-2A25-4958-A7B2-17337B48BCE1}" destId="{64B83644-0F44-4AD5-BC51-38D054397A70}" srcOrd="0" destOrd="0" presId="urn:microsoft.com/office/officeart/2005/8/layout/vList2"/>
    <dgm:cxn modelId="{5944C1C4-5F4F-48F7-8AE6-16A24507A6D5}" type="presOf" srcId="{9BC5CD5A-3B63-4E25-A9D7-9B0DDD7175F1}" destId="{B1E3C888-9293-438E-BB17-8F131AC64714}" srcOrd="0" destOrd="0" presId="urn:microsoft.com/office/officeart/2005/8/layout/vList2"/>
    <dgm:cxn modelId="{3E7693CB-9D6B-49A9-8A19-4A7B6DC3CFF8}" srcId="{DB23F2E4-76B9-4EC8-B005-981250144F6F}" destId="{774B1DA2-EF16-43C2-B12F-4393760C1163}" srcOrd="2" destOrd="0" parTransId="{45AA5184-ABAF-4ED8-878F-C4CA67653702}" sibTransId="{4268322A-B375-493D-AFDF-225C98010A8E}"/>
    <dgm:cxn modelId="{0F8C9CDA-B5C3-4BC0-BB7C-4C52E85CAFA5}" type="presOf" srcId="{DB23F2E4-76B9-4EC8-B005-981250144F6F}" destId="{2B3337AA-DF85-49DE-89FC-21D18E52AB3E}" srcOrd="0" destOrd="0" presId="urn:microsoft.com/office/officeart/2005/8/layout/vList2"/>
    <dgm:cxn modelId="{E69D54E6-41A2-4796-B090-880DCBA76E92}" type="presOf" srcId="{C4D855E4-13EB-4039-906F-B49980FC1898}" destId="{94278271-9806-4244-9DC7-5CA5F893FA12}" srcOrd="0" destOrd="1" presId="urn:microsoft.com/office/officeart/2005/8/layout/vList2"/>
    <dgm:cxn modelId="{BD543049-47DD-48F4-9A4E-BBE11E3FCE64}" type="presParOf" srcId="{2B3337AA-DF85-49DE-89FC-21D18E52AB3E}" destId="{51B49227-3D88-40E2-8B4E-A171CA2948AE}" srcOrd="0" destOrd="0" presId="urn:microsoft.com/office/officeart/2005/8/layout/vList2"/>
    <dgm:cxn modelId="{AA7AA2C8-8F51-4618-8109-944E0C6E2D62}" type="presParOf" srcId="{2B3337AA-DF85-49DE-89FC-21D18E52AB3E}" destId="{15046B69-B67A-4C5F-9D50-F8AA0A901492}" srcOrd="1" destOrd="0" presId="urn:microsoft.com/office/officeart/2005/8/layout/vList2"/>
    <dgm:cxn modelId="{22B600E9-140F-49F1-A453-41397B545E7C}" type="presParOf" srcId="{2B3337AA-DF85-49DE-89FC-21D18E52AB3E}" destId="{B1E3C888-9293-438E-BB17-8F131AC64714}" srcOrd="2" destOrd="0" presId="urn:microsoft.com/office/officeart/2005/8/layout/vList2"/>
    <dgm:cxn modelId="{F705007A-0A3E-4BEC-9B77-447A685FE8CD}" type="presParOf" srcId="{2B3337AA-DF85-49DE-89FC-21D18E52AB3E}" destId="{94278271-9806-4244-9DC7-5CA5F893FA12}" srcOrd="3" destOrd="0" presId="urn:microsoft.com/office/officeart/2005/8/layout/vList2"/>
    <dgm:cxn modelId="{35975DE8-3EA8-4FD9-B35C-31AE94BE8622}" type="presParOf" srcId="{2B3337AA-DF85-49DE-89FC-21D18E52AB3E}" destId="{3B83A9E1-E2DD-4871-AD8D-FAE55A5F1CC5}" srcOrd="4" destOrd="0" presId="urn:microsoft.com/office/officeart/2005/8/layout/vList2"/>
    <dgm:cxn modelId="{3DA28F71-66AF-4EDB-8174-0DC055334E8F}" type="presParOf" srcId="{2B3337AA-DF85-49DE-89FC-21D18E52AB3E}" destId="{7FC667AF-C761-4A7B-9FC6-6006131D6EED}" srcOrd="5" destOrd="0" presId="urn:microsoft.com/office/officeart/2005/8/layout/vList2"/>
    <dgm:cxn modelId="{F88D39CD-7BFA-4085-A1A1-5D1BABC6C323}" type="presParOf" srcId="{2B3337AA-DF85-49DE-89FC-21D18E52AB3E}" destId="{64B83644-0F44-4AD5-BC51-38D054397A70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CA8CEFE5-092D-44A1-87BA-F9970F6F614D}" type="doc">
      <dgm:prSet loTypeId="urn:microsoft.com/office/officeart/2005/8/layout/vList2" loCatId="list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0AF33424-B45A-4BF7-A778-8BA420B2C885}">
      <dgm:prSet/>
      <dgm:spPr/>
      <dgm:t>
        <a:bodyPr/>
        <a:lstStyle/>
        <a:p>
          <a:pPr rtl="0"/>
          <a:r>
            <a:rPr lang="en-US" dirty="0"/>
            <a:t>Gain knowledge in quality improvement methods and data gathering</a:t>
          </a:r>
        </a:p>
      </dgm:t>
    </dgm:pt>
    <dgm:pt modelId="{F5B4F439-F20A-4867-B8CE-B1B7E14CE9D7}" type="parTrans" cxnId="{B41040E1-3E37-4B91-8778-0ECF2C8CA38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8A6A5E9-59E9-403E-ABA3-38EB3CF0456B}" type="sibTrans" cxnId="{B41040E1-3E37-4B91-8778-0ECF2C8CA38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C57409E3-54C8-4B8D-BCF6-98BBD8FEEDAB}">
      <dgm:prSet/>
      <dgm:spPr/>
      <dgm:t>
        <a:bodyPr/>
        <a:lstStyle/>
        <a:p>
          <a:pPr rtl="0"/>
          <a:r>
            <a:rPr lang="en-US"/>
            <a:t>Conduct performance improvement review </a:t>
          </a:r>
          <a:endParaRPr lang="en-US" dirty="0"/>
        </a:p>
      </dgm:t>
    </dgm:pt>
    <dgm:pt modelId="{0D2F32DC-E5F3-43C7-A444-0BB67EF2ED2A}" type="parTrans" cxnId="{C18C4F36-36C5-4F75-BE9B-5F10A8FD79D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8255206-AA01-4DD4-BE78-72966F781354}" type="sibTrans" cxnId="{C18C4F36-36C5-4F75-BE9B-5F10A8FD79D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8264EC8E-8512-4EF0-A5B9-B1DB4289F7E3}">
      <dgm:prSet/>
      <dgm:spPr/>
      <dgm:t>
        <a:bodyPr/>
        <a:lstStyle/>
        <a:p>
          <a:pPr rtl="0"/>
          <a:r>
            <a:rPr lang="en-US"/>
            <a:t>Develop EBM guidelines</a:t>
          </a:r>
        </a:p>
      </dgm:t>
    </dgm:pt>
    <dgm:pt modelId="{64253B36-23B4-4890-8CED-1EBED35A50AE}" type="parTrans" cxnId="{54816885-B564-49B9-81F1-1B5DF39AB1E3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E0ED19CD-4F9C-4933-9D7B-A413358CE964}" type="sibTrans" cxnId="{54816885-B564-49B9-81F1-1B5DF39AB1E3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AE58185-7B9B-4C93-BEF4-5642161178B0}">
      <dgm:prSet/>
      <dgm:spPr/>
      <dgm:t>
        <a:bodyPr/>
        <a:lstStyle/>
        <a:p>
          <a:pPr rtl="0"/>
          <a:r>
            <a:rPr lang="en-US"/>
            <a:t>Identify patient safety or quality issues </a:t>
          </a:r>
        </a:p>
      </dgm:t>
    </dgm:pt>
    <dgm:pt modelId="{D57516F7-D337-4EA8-B613-E7D030060FC0}" type="parTrans" cxnId="{02F9EE8B-5A2F-41CF-A095-D2460CCE456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A193960-DC75-4700-AEA9-6C7B720A367D}" type="sibTrans" cxnId="{02F9EE8B-5A2F-41CF-A095-D2460CCE456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95C8C5F-B454-4197-9F1A-8BAC15A83FBB}">
      <dgm:prSet/>
      <dgm:spPr/>
      <dgm:t>
        <a:bodyPr/>
        <a:lstStyle/>
        <a:p>
          <a:pPr rtl="0"/>
          <a:r>
            <a:rPr lang="en-US"/>
            <a:t>Design and conduct a quality project</a:t>
          </a:r>
        </a:p>
      </dgm:t>
    </dgm:pt>
    <dgm:pt modelId="{899641AD-4543-4D97-9BB6-87B494F7E519}" type="parTrans" cxnId="{97DEA87B-BAAA-433F-9D05-162D0CCDF8F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2C02E9C-9CB8-41F0-BFE9-F24FF2283769}" type="sibTrans" cxnId="{97DEA87B-BAAA-433F-9D05-162D0CCDF8F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7D1DC8D7-6E14-4E4E-8F60-3FB107344357}" type="pres">
      <dgm:prSet presAssocID="{CA8CEFE5-092D-44A1-87BA-F9970F6F614D}" presName="linear" presStyleCnt="0">
        <dgm:presLayoutVars>
          <dgm:animLvl val="lvl"/>
          <dgm:resizeHandles val="exact"/>
        </dgm:presLayoutVars>
      </dgm:prSet>
      <dgm:spPr/>
    </dgm:pt>
    <dgm:pt modelId="{008E99E2-0168-459B-8AE2-867E608EAC01}" type="pres">
      <dgm:prSet presAssocID="{0AF33424-B45A-4BF7-A778-8BA420B2C885}" presName="parentText" presStyleLbl="node1" presStyleIdx="0" presStyleCnt="5" custLinFactNeighborX="2367" custLinFactNeighborY="-10333">
        <dgm:presLayoutVars>
          <dgm:chMax val="0"/>
          <dgm:bulletEnabled val="1"/>
        </dgm:presLayoutVars>
      </dgm:prSet>
      <dgm:spPr/>
    </dgm:pt>
    <dgm:pt modelId="{BC25978D-E593-4E6F-9DA8-20F6C00FE34B}" type="pres">
      <dgm:prSet presAssocID="{F8A6A5E9-59E9-403E-ABA3-38EB3CF0456B}" presName="spacer" presStyleCnt="0"/>
      <dgm:spPr/>
    </dgm:pt>
    <dgm:pt modelId="{68461D4B-EDE9-4ED5-B4DB-A6D1FCA6528C}" type="pres">
      <dgm:prSet presAssocID="{C57409E3-54C8-4B8D-BCF6-98BBD8FEEDAB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EAC8266D-AB93-454A-8E36-039BB09421E7}" type="pres">
      <dgm:prSet presAssocID="{08255206-AA01-4DD4-BE78-72966F781354}" presName="spacer" presStyleCnt="0"/>
      <dgm:spPr/>
    </dgm:pt>
    <dgm:pt modelId="{5B0CAEAF-556A-4381-AFB4-818056567075}" type="pres">
      <dgm:prSet presAssocID="{8264EC8E-8512-4EF0-A5B9-B1DB4289F7E3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E471AA40-71E9-47A7-A61C-8976AC30E6C8}" type="pres">
      <dgm:prSet presAssocID="{E0ED19CD-4F9C-4933-9D7B-A413358CE964}" presName="spacer" presStyleCnt="0"/>
      <dgm:spPr/>
    </dgm:pt>
    <dgm:pt modelId="{38A98D62-5CE7-44A9-A6BB-0EBD0ADDCC5D}" type="pres">
      <dgm:prSet presAssocID="{9AE58185-7B9B-4C93-BEF4-5642161178B0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C8FA4FB4-3988-4C1C-9878-A014E9D6280D}" type="pres">
      <dgm:prSet presAssocID="{BA193960-DC75-4700-AEA9-6C7B720A367D}" presName="spacer" presStyleCnt="0"/>
      <dgm:spPr/>
    </dgm:pt>
    <dgm:pt modelId="{06000B56-185C-4A16-B7C3-87E21C977AC7}" type="pres">
      <dgm:prSet presAssocID="{995C8C5F-B454-4197-9F1A-8BAC15A83FBB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5C92300A-5C7C-4219-A1D2-CA68BEFAF873}" type="presOf" srcId="{995C8C5F-B454-4197-9F1A-8BAC15A83FBB}" destId="{06000B56-185C-4A16-B7C3-87E21C977AC7}" srcOrd="0" destOrd="0" presId="urn:microsoft.com/office/officeart/2005/8/layout/vList2"/>
    <dgm:cxn modelId="{35BE3133-E53C-4BA0-8E79-BF0AE602B656}" type="presOf" srcId="{8264EC8E-8512-4EF0-A5B9-B1DB4289F7E3}" destId="{5B0CAEAF-556A-4381-AFB4-818056567075}" srcOrd="0" destOrd="0" presId="urn:microsoft.com/office/officeart/2005/8/layout/vList2"/>
    <dgm:cxn modelId="{C18C4F36-36C5-4F75-BE9B-5F10A8FD79DB}" srcId="{CA8CEFE5-092D-44A1-87BA-F9970F6F614D}" destId="{C57409E3-54C8-4B8D-BCF6-98BBD8FEEDAB}" srcOrd="1" destOrd="0" parTransId="{0D2F32DC-E5F3-43C7-A444-0BB67EF2ED2A}" sibTransId="{08255206-AA01-4DD4-BE78-72966F781354}"/>
    <dgm:cxn modelId="{063FB745-2F61-41BC-93D7-375989BBC9E6}" type="presOf" srcId="{C57409E3-54C8-4B8D-BCF6-98BBD8FEEDAB}" destId="{68461D4B-EDE9-4ED5-B4DB-A6D1FCA6528C}" srcOrd="0" destOrd="0" presId="urn:microsoft.com/office/officeart/2005/8/layout/vList2"/>
    <dgm:cxn modelId="{9F708B4A-AED2-45D6-A793-8863EC07FF05}" type="presOf" srcId="{CA8CEFE5-092D-44A1-87BA-F9970F6F614D}" destId="{7D1DC8D7-6E14-4E4E-8F60-3FB107344357}" srcOrd="0" destOrd="0" presId="urn:microsoft.com/office/officeart/2005/8/layout/vList2"/>
    <dgm:cxn modelId="{97DEA87B-BAAA-433F-9D05-162D0CCDF8F5}" srcId="{CA8CEFE5-092D-44A1-87BA-F9970F6F614D}" destId="{995C8C5F-B454-4197-9F1A-8BAC15A83FBB}" srcOrd="4" destOrd="0" parTransId="{899641AD-4543-4D97-9BB6-87B494F7E519}" sibTransId="{D2C02E9C-9CB8-41F0-BFE9-F24FF2283769}"/>
    <dgm:cxn modelId="{54816885-B564-49B9-81F1-1B5DF39AB1E3}" srcId="{CA8CEFE5-092D-44A1-87BA-F9970F6F614D}" destId="{8264EC8E-8512-4EF0-A5B9-B1DB4289F7E3}" srcOrd="2" destOrd="0" parTransId="{64253B36-23B4-4890-8CED-1EBED35A50AE}" sibTransId="{E0ED19CD-4F9C-4933-9D7B-A413358CE964}"/>
    <dgm:cxn modelId="{02F9EE8B-5A2F-41CF-A095-D2460CCE4564}" srcId="{CA8CEFE5-092D-44A1-87BA-F9970F6F614D}" destId="{9AE58185-7B9B-4C93-BEF4-5642161178B0}" srcOrd="3" destOrd="0" parTransId="{D57516F7-D337-4EA8-B613-E7D030060FC0}" sibTransId="{BA193960-DC75-4700-AEA9-6C7B720A367D}"/>
    <dgm:cxn modelId="{729745A2-9337-4E8E-AF2D-18DCA4D193B3}" type="presOf" srcId="{9AE58185-7B9B-4C93-BEF4-5642161178B0}" destId="{38A98D62-5CE7-44A9-A6BB-0EBD0ADDCC5D}" srcOrd="0" destOrd="0" presId="urn:microsoft.com/office/officeart/2005/8/layout/vList2"/>
    <dgm:cxn modelId="{B41040E1-3E37-4B91-8778-0ECF2C8CA385}" srcId="{CA8CEFE5-092D-44A1-87BA-F9970F6F614D}" destId="{0AF33424-B45A-4BF7-A778-8BA420B2C885}" srcOrd="0" destOrd="0" parTransId="{F5B4F439-F20A-4867-B8CE-B1B7E14CE9D7}" sibTransId="{F8A6A5E9-59E9-403E-ABA3-38EB3CF0456B}"/>
    <dgm:cxn modelId="{FB3AC6E2-693F-4489-8ADE-5A2BD4DFD6D8}" type="presOf" srcId="{0AF33424-B45A-4BF7-A778-8BA420B2C885}" destId="{008E99E2-0168-459B-8AE2-867E608EAC01}" srcOrd="0" destOrd="0" presId="urn:microsoft.com/office/officeart/2005/8/layout/vList2"/>
    <dgm:cxn modelId="{EDC7215E-6CF0-4E6A-86E6-AC39BE5944B2}" type="presParOf" srcId="{7D1DC8D7-6E14-4E4E-8F60-3FB107344357}" destId="{008E99E2-0168-459B-8AE2-867E608EAC01}" srcOrd="0" destOrd="0" presId="urn:microsoft.com/office/officeart/2005/8/layout/vList2"/>
    <dgm:cxn modelId="{3FB2518F-3117-4F0D-B1B0-E45530A928CF}" type="presParOf" srcId="{7D1DC8D7-6E14-4E4E-8F60-3FB107344357}" destId="{BC25978D-E593-4E6F-9DA8-20F6C00FE34B}" srcOrd="1" destOrd="0" presId="urn:microsoft.com/office/officeart/2005/8/layout/vList2"/>
    <dgm:cxn modelId="{3684EC3D-C353-46D7-939D-F42806DEB5BC}" type="presParOf" srcId="{7D1DC8D7-6E14-4E4E-8F60-3FB107344357}" destId="{68461D4B-EDE9-4ED5-B4DB-A6D1FCA6528C}" srcOrd="2" destOrd="0" presId="urn:microsoft.com/office/officeart/2005/8/layout/vList2"/>
    <dgm:cxn modelId="{BACC6BC0-E884-4C51-B39F-FDCE583F5360}" type="presParOf" srcId="{7D1DC8D7-6E14-4E4E-8F60-3FB107344357}" destId="{EAC8266D-AB93-454A-8E36-039BB09421E7}" srcOrd="3" destOrd="0" presId="urn:microsoft.com/office/officeart/2005/8/layout/vList2"/>
    <dgm:cxn modelId="{D6261520-088A-435E-B054-0F652FF79155}" type="presParOf" srcId="{7D1DC8D7-6E14-4E4E-8F60-3FB107344357}" destId="{5B0CAEAF-556A-4381-AFB4-818056567075}" srcOrd="4" destOrd="0" presId="urn:microsoft.com/office/officeart/2005/8/layout/vList2"/>
    <dgm:cxn modelId="{555E4EA2-C4EC-48FB-9879-55D55E17974F}" type="presParOf" srcId="{7D1DC8D7-6E14-4E4E-8F60-3FB107344357}" destId="{E471AA40-71E9-47A7-A61C-8976AC30E6C8}" srcOrd="5" destOrd="0" presId="urn:microsoft.com/office/officeart/2005/8/layout/vList2"/>
    <dgm:cxn modelId="{85511177-1FF8-425F-93F7-819E1B2427A6}" type="presParOf" srcId="{7D1DC8D7-6E14-4E4E-8F60-3FB107344357}" destId="{38A98D62-5CE7-44A9-A6BB-0EBD0ADDCC5D}" srcOrd="6" destOrd="0" presId="urn:microsoft.com/office/officeart/2005/8/layout/vList2"/>
    <dgm:cxn modelId="{4BBF66C4-03EC-4DEF-B94C-E98E05C6E57F}" type="presParOf" srcId="{7D1DC8D7-6E14-4E4E-8F60-3FB107344357}" destId="{C8FA4FB4-3988-4C1C-9878-A014E9D6280D}" srcOrd="7" destOrd="0" presId="urn:microsoft.com/office/officeart/2005/8/layout/vList2"/>
    <dgm:cxn modelId="{6BE93FCC-E25E-4EF8-A967-9A33D770EE02}" type="presParOf" srcId="{7D1DC8D7-6E14-4E4E-8F60-3FB107344357}" destId="{06000B56-185C-4A16-B7C3-87E21C977AC7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621517D3-2969-48B3-A8B0-5922D0B5E66D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36D5FEEB-E59F-4E97-961C-5421271D1214}">
      <dgm:prSet/>
      <dgm:spPr/>
      <dgm:t>
        <a:bodyPr/>
        <a:lstStyle/>
        <a:p>
          <a:pPr rtl="0"/>
          <a:r>
            <a:rPr lang="en-US" dirty="0"/>
            <a:t>Create and revise individualized learning plan</a:t>
          </a:r>
        </a:p>
      </dgm:t>
    </dgm:pt>
    <dgm:pt modelId="{E85EC954-B127-49F0-8600-58C3F53A961F}" type="parTrans" cxnId="{DFFEECAD-1C7B-4C88-91A9-F2292E87988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BE2897E-3F93-4A82-800D-20775797A859}" type="sibTrans" cxnId="{DFFEECAD-1C7B-4C88-91A9-F2292E87988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17C46ED-C54F-4A33-BBF3-7077AB049C2E}">
      <dgm:prSet/>
      <dgm:spPr/>
      <dgm:t>
        <a:bodyPr/>
        <a:lstStyle/>
        <a:p>
          <a:pPr rtl="0"/>
          <a:r>
            <a:rPr lang="en-US"/>
            <a:t>Build on your CV</a:t>
          </a:r>
          <a:endParaRPr lang="en-US" dirty="0"/>
        </a:p>
      </dgm:t>
    </dgm:pt>
    <dgm:pt modelId="{5018F466-0255-4C32-9C1B-7A2921F21688}" type="parTrans" cxnId="{5EED3E74-ABBF-4F37-B2A2-F622A14C30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0E7E3B3-5C3F-49D6-8281-DEC1FF894255}" type="sibTrans" cxnId="{5EED3E74-ABBF-4F37-B2A2-F622A14C303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BE70625-1D8A-4A40-A55D-CA9C7B35F9A2}">
      <dgm:prSet/>
      <dgm:spPr/>
      <dgm:t>
        <a:bodyPr/>
        <a:lstStyle/>
        <a:p>
          <a:pPr rtl="0"/>
          <a:r>
            <a:rPr lang="en-US"/>
            <a:t>Receive &amp; provide mentorship</a:t>
          </a:r>
          <a:endParaRPr lang="en-US" dirty="0"/>
        </a:p>
      </dgm:t>
    </dgm:pt>
    <dgm:pt modelId="{15C5D146-0855-4210-B072-2AA96BAEEA65}" type="parTrans" cxnId="{D098C432-D855-4DF2-B743-6A40753B3E2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87DCBA7-FA4B-40EC-B1BC-F1EE8E95012E}" type="sibTrans" cxnId="{D098C432-D855-4DF2-B743-6A40753B3E2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DEB632A-D3CC-4BE7-8090-10589CA2898D}">
      <dgm:prSet/>
      <dgm:spPr/>
      <dgm:t>
        <a:bodyPr/>
        <a:lstStyle/>
        <a:p>
          <a:pPr rtl="0"/>
          <a:r>
            <a:rPr lang="en-US" dirty="0"/>
            <a:t>Balance clinical and academic duties</a:t>
          </a:r>
        </a:p>
      </dgm:t>
    </dgm:pt>
    <dgm:pt modelId="{B6D3B463-26DA-482E-93B7-25CB97F22683}" type="parTrans" cxnId="{DD7AFC77-C287-4345-9236-76AEF94D7F7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85F52D2-3880-4EF7-B062-0BAACF158DF3}" type="sibTrans" cxnId="{DD7AFC77-C287-4345-9236-76AEF94D7F7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F5D4BA88-FE5A-43D8-A9C9-57E6C1A62FD5}">
      <dgm:prSet/>
      <dgm:spPr/>
      <dgm:t>
        <a:bodyPr/>
        <a:lstStyle/>
        <a:p>
          <a:pPr rtl="0"/>
          <a:r>
            <a:rPr lang="en-US"/>
            <a:t>Review principles of academic advancement</a:t>
          </a:r>
        </a:p>
      </dgm:t>
    </dgm:pt>
    <dgm:pt modelId="{500A12E5-2842-4FC7-B513-3223DAD9C1A6}" type="parTrans" cxnId="{5A81E8F6-BD8C-4610-AA0E-8089D772085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6C16434-A55A-45B3-85B7-3ADEE195782D}" type="sibTrans" cxnId="{5A81E8F6-BD8C-4610-AA0E-8089D772085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8429651-C7BD-4CAF-89DE-937FCB1887FF}">
      <dgm:prSet/>
      <dgm:spPr/>
      <dgm:t>
        <a:bodyPr/>
        <a:lstStyle/>
        <a:p>
          <a:pPr rtl="0"/>
          <a:r>
            <a:rPr lang="en-US" dirty="0"/>
            <a:t>Create a 5 year plan</a:t>
          </a:r>
        </a:p>
      </dgm:t>
    </dgm:pt>
    <dgm:pt modelId="{B626CC86-7982-4A70-B71D-7645DF1863C7}" type="parTrans" cxnId="{2696BB31-71EE-428C-8412-D9C988546DE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D913208-E413-4791-AD66-FB7B4791239A}" type="sibTrans" cxnId="{2696BB31-71EE-428C-8412-D9C988546DE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B9F740E-22BE-4012-8C39-B25C5F34782D}">
      <dgm:prSet/>
      <dgm:spPr/>
      <dgm:t>
        <a:bodyPr/>
        <a:lstStyle/>
        <a:p>
          <a:pPr rtl="0"/>
          <a:r>
            <a:rPr lang="en-US"/>
            <a:t>Gain awareness of job market demands</a:t>
          </a:r>
        </a:p>
      </dgm:t>
    </dgm:pt>
    <dgm:pt modelId="{BEE5BC80-A200-4698-9301-52325916B6FB}" type="parTrans" cxnId="{C2AEBF7A-FCBB-47AF-A438-2648BF4FC9A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FBE2528-5341-4A5D-8F22-AFCF771B2F59}" type="sibTrans" cxnId="{C2AEBF7A-FCBB-47AF-A438-2648BF4FC9A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8BDC252-4B51-4099-8485-28BBBC6AE8A3}">
      <dgm:prSet/>
      <dgm:spPr/>
      <dgm:t>
        <a:bodyPr/>
        <a:lstStyle/>
        <a:p>
          <a:pPr rtl="0"/>
          <a:r>
            <a:rPr lang="en-US"/>
            <a:t>Get the job you want; choose the career path that’s right for you</a:t>
          </a:r>
        </a:p>
      </dgm:t>
    </dgm:pt>
    <dgm:pt modelId="{F48B9CBE-3761-4A22-BA45-E2F8F58328B9}" type="parTrans" cxnId="{5A317CB8-A5F5-4311-ADDF-F40344EC759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24527F4-5221-41BF-BB50-5F5C09A5C86D}" type="sibTrans" cxnId="{5A317CB8-A5F5-4311-ADDF-F40344EC759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63EB923-39DE-46BD-BBD9-5AFA6FE00691}" type="pres">
      <dgm:prSet presAssocID="{621517D3-2969-48B3-A8B0-5922D0B5E66D}" presName="linear" presStyleCnt="0">
        <dgm:presLayoutVars>
          <dgm:animLvl val="lvl"/>
          <dgm:resizeHandles val="exact"/>
        </dgm:presLayoutVars>
      </dgm:prSet>
      <dgm:spPr/>
    </dgm:pt>
    <dgm:pt modelId="{A3F193FC-8B12-4737-8FCE-E43DE14FB5D9}" type="pres">
      <dgm:prSet presAssocID="{36D5FEEB-E59F-4E97-961C-5421271D1214}" presName="parentText" presStyleLbl="node1" presStyleIdx="0" presStyleCnt="8">
        <dgm:presLayoutVars>
          <dgm:chMax val="0"/>
          <dgm:bulletEnabled val="1"/>
        </dgm:presLayoutVars>
      </dgm:prSet>
      <dgm:spPr/>
    </dgm:pt>
    <dgm:pt modelId="{C42A48D5-4407-4FE5-87CE-6D54AAA2B3C6}" type="pres">
      <dgm:prSet presAssocID="{6BE2897E-3F93-4A82-800D-20775797A859}" presName="spacer" presStyleCnt="0"/>
      <dgm:spPr/>
    </dgm:pt>
    <dgm:pt modelId="{2C80B47A-6A4F-4237-91E5-DBAA7F87A93C}" type="pres">
      <dgm:prSet presAssocID="{817C46ED-C54F-4A33-BBF3-7077AB049C2E}" presName="parentText" presStyleLbl="node1" presStyleIdx="1" presStyleCnt="8" custLinFactNeighborX="-15464" custLinFactNeighborY="-24479">
        <dgm:presLayoutVars>
          <dgm:chMax val="0"/>
          <dgm:bulletEnabled val="1"/>
        </dgm:presLayoutVars>
      </dgm:prSet>
      <dgm:spPr/>
    </dgm:pt>
    <dgm:pt modelId="{704E99AB-C7B2-421D-BA3B-C071D5AA502D}" type="pres">
      <dgm:prSet presAssocID="{80E7E3B3-5C3F-49D6-8281-DEC1FF894255}" presName="spacer" presStyleCnt="0"/>
      <dgm:spPr/>
    </dgm:pt>
    <dgm:pt modelId="{A5300E68-15AF-41FD-B87C-99CD2729CF2E}" type="pres">
      <dgm:prSet presAssocID="{4BE70625-1D8A-4A40-A55D-CA9C7B35F9A2}" presName="parentText" presStyleLbl="node1" presStyleIdx="2" presStyleCnt="8">
        <dgm:presLayoutVars>
          <dgm:chMax val="0"/>
          <dgm:bulletEnabled val="1"/>
        </dgm:presLayoutVars>
      </dgm:prSet>
      <dgm:spPr/>
    </dgm:pt>
    <dgm:pt modelId="{E1161772-25BB-4307-82E0-AE794922C2F3}" type="pres">
      <dgm:prSet presAssocID="{287DCBA7-FA4B-40EC-B1BC-F1EE8E95012E}" presName="spacer" presStyleCnt="0"/>
      <dgm:spPr/>
    </dgm:pt>
    <dgm:pt modelId="{CAAF6B64-05B1-4D99-99ED-22B2F584D06B}" type="pres">
      <dgm:prSet presAssocID="{0DEB632A-D3CC-4BE7-8090-10589CA2898D}" presName="parentText" presStyleLbl="node1" presStyleIdx="3" presStyleCnt="8">
        <dgm:presLayoutVars>
          <dgm:chMax val="0"/>
          <dgm:bulletEnabled val="1"/>
        </dgm:presLayoutVars>
      </dgm:prSet>
      <dgm:spPr/>
    </dgm:pt>
    <dgm:pt modelId="{71DFC6BF-4D4B-4B85-9CB9-A0B2F5140ABE}" type="pres">
      <dgm:prSet presAssocID="{E85F52D2-3880-4EF7-B062-0BAACF158DF3}" presName="spacer" presStyleCnt="0"/>
      <dgm:spPr/>
    </dgm:pt>
    <dgm:pt modelId="{604CB48B-50E4-4A1C-B22E-6FF9C92314C9}" type="pres">
      <dgm:prSet presAssocID="{F5D4BA88-FE5A-43D8-A9C9-57E6C1A62FD5}" presName="parentText" presStyleLbl="node1" presStyleIdx="4" presStyleCnt="8">
        <dgm:presLayoutVars>
          <dgm:chMax val="0"/>
          <dgm:bulletEnabled val="1"/>
        </dgm:presLayoutVars>
      </dgm:prSet>
      <dgm:spPr/>
    </dgm:pt>
    <dgm:pt modelId="{B676FEBA-92C2-4CEE-870F-9250BAE275FC}" type="pres">
      <dgm:prSet presAssocID="{56C16434-A55A-45B3-85B7-3ADEE195782D}" presName="spacer" presStyleCnt="0"/>
      <dgm:spPr/>
    </dgm:pt>
    <dgm:pt modelId="{4121659D-C1FA-4EBB-B2BE-85C14FA34AB3}" type="pres">
      <dgm:prSet presAssocID="{A8429651-C7BD-4CAF-89DE-937FCB1887FF}" presName="parentText" presStyleLbl="node1" presStyleIdx="5" presStyleCnt="8">
        <dgm:presLayoutVars>
          <dgm:chMax val="0"/>
          <dgm:bulletEnabled val="1"/>
        </dgm:presLayoutVars>
      </dgm:prSet>
      <dgm:spPr/>
    </dgm:pt>
    <dgm:pt modelId="{01BC282E-8E8D-45C5-8C54-AC512CBC9809}" type="pres">
      <dgm:prSet presAssocID="{DD913208-E413-4791-AD66-FB7B4791239A}" presName="spacer" presStyleCnt="0"/>
      <dgm:spPr/>
    </dgm:pt>
    <dgm:pt modelId="{53472C53-8C58-4C13-86A7-7848C9A64F7C}" type="pres">
      <dgm:prSet presAssocID="{2B9F740E-22BE-4012-8C39-B25C5F34782D}" presName="parentText" presStyleLbl="node1" presStyleIdx="6" presStyleCnt="8">
        <dgm:presLayoutVars>
          <dgm:chMax val="0"/>
          <dgm:bulletEnabled val="1"/>
        </dgm:presLayoutVars>
      </dgm:prSet>
      <dgm:spPr/>
    </dgm:pt>
    <dgm:pt modelId="{27CE5980-0022-4805-AE31-2CEBFAD105BB}" type="pres">
      <dgm:prSet presAssocID="{BFBE2528-5341-4A5D-8F22-AFCF771B2F59}" presName="spacer" presStyleCnt="0"/>
      <dgm:spPr/>
    </dgm:pt>
    <dgm:pt modelId="{CCA6F0ED-3278-4D29-A6CB-0E77A06CA344}" type="pres">
      <dgm:prSet presAssocID="{68BDC252-4B51-4099-8485-28BBBC6AE8A3}" presName="parentText" presStyleLbl="node1" presStyleIdx="7" presStyleCnt="8">
        <dgm:presLayoutVars>
          <dgm:chMax val="0"/>
          <dgm:bulletEnabled val="1"/>
        </dgm:presLayoutVars>
      </dgm:prSet>
      <dgm:spPr/>
    </dgm:pt>
  </dgm:ptLst>
  <dgm:cxnLst>
    <dgm:cxn modelId="{0C774126-654A-41AB-A159-874325D6BC75}" type="presOf" srcId="{68BDC252-4B51-4099-8485-28BBBC6AE8A3}" destId="{CCA6F0ED-3278-4D29-A6CB-0E77A06CA344}" srcOrd="0" destOrd="0" presId="urn:microsoft.com/office/officeart/2005/8/layout/vList2"/>
    <dgm:cxn modelId="{66B92631-1EB5-454E-962F-09325C9AC195}" type="presOf" srcId="{621517D3-2969-48B3-A8B0-5922D0B5E66D}" destId="{E63EB923-39DE-46BD-BBD9-5AFA6FE00691}" srcOrd="0" destOrd="0" presId="urn:microsoft.com/office/officeart/2005/8/layout/vList2"/>
    <dgm:cxn modelId="{2696BB31-71EE-428C-8412-D9C988546DE1}" srcId="{621517D3-2969-48B3-A8B0-5922D0B5E66D}" destId="{A8429651-C7BD-4CAF-89DE-937FCB1887FF}" srcOrd="5" destOrd="0" parTransId="{B626CC86-7982-4A70-B71D-7645DF1863C7}" sibTransId="{DD913208-E413-4791-AD66-FB7B4791239A}"/>
    <dgm:cxn modelId="{D098C432-D855-4DF2-B743-6A40753B3E2A}" srcId="{621517D3-2969-48B3-A8B0-5922D0B5E66D}" destId="{4BE70625-1D8A-4A40-A55D-CA9C7B35F9A2}" srcOrd="2" destOrd="0" parTransId="{15C5D146-0855-4210-B072-2AA96BAEEA65}" sibTransId="{287DCBA7-FA4B-40EC-B1BC-F1EE8E95012E}"/>
    <dgm:cxn modelId="{93DBA336-DBA8-44C4-A039-FFF4F5C4902A}" type="presOf" srcId="{0DEB632A-D3CC-4BE7-8090-10589CA2898D}" destId="{CAAF6B64-05B1-4D99-99ED-22B2F584D06B}" srcOrd="0" destOrd="0" presId="urn:microsoft.com/office/officeart/2005/8/layout/vList2"/>
    <dgm:cxn modelId="{28988A59-6F3A-4CD4-8FAC-F3527B78A696}" type="presOf" srcId="{36D5FEEB-E59F-4E97-961C-5421271D1214}" destId="{A3F193FC-8B12-4737-8FCE-E43DE14FB5D9}" srcOrd="0" destOrd="0" presId="urn:microsoft.com/office/officeart/2005/8/layout/vList2"/>
    <dgm:cxn modelId="{5EED3E74-ABBF-4F37-B2A2-F622A14C303B}" srcId="{621517D3-2969-48B3-A8B0-5922D0B5E66D}" destId="{817C46ED-C54F-4A33-BBF3-7077AB049C2E}" srcOrd="1" destOrd="0" parTransId="{5018F466-0255-4C32-9C1B-7A2921F21688}" sibTransId="{80E7E3B3-5C3F-49D6-8281-DEC1FF894255}"/>
    <dgm:cxn modelId="{DD7AFC77-C287-4345-9236-76AEF94D7F77}" srcId="{621517D3-2969-48B3-A8B0-5922D0B5E66D}" destId="{0DEB632A-D3CC-4BE7-8090-10589CA2898D}" srcOrd="3" destOrd="0" parTransId="{B6D3B463-26DA-482E-93B7-25CB97F22683}" sibTransId="{E85F52D2-3880-4EF7-B062-0BAACF158DF3}"/>
    <dgm:cxn modelId="{C2AEBF7A-FCBB-47AF-A438-2648BF4FC9A1}" srcId="{621517D3-2969-48B3-A8B0-5922D0B5E66D}" destId="{2B9F740E-22BE-4012-8C39-B25C5F34782D}" srcOrd="6" destOrd="0" parTransId="{BEE5BC80-A200-4698-9301-52325916B6FB}" sibTransId="{BFBE2528-5341-4A5D-8F22-AFCF771B2F59}"/>
    <dgm:cxn modelId="{C8104A8E-D46A-4EC0-8203-3D54ACBDD0BD}" type="presOf" srcId="{A8429651-C7BD-4CAF-89DE-937FCB1887FF}" destId="{4121659D-C1FA-4EBB-B2BE-85C14FA34AB3}" srcOrd="0" destOrd="0" presId="urn:microsoft.com/office/officeart/2005/8/layout/vList2"/>
    <dgm:cxn modelId="{A756599C-8C22-4712-AF3B-79CE0AFF20CD}" type="presOf" srcId="{F5D4BA88-FE5A-43D8-A9C9-57E6C1A62FD5}" destId="{604CB48B-50E4-4A1C-B22E-6FF9C92314C9}" srcOrd="0" destOrd="0" presId="urn:microsoft.com/office/officeart/2005/8/layout/vList2"/>
    <dgm:cxn modelId="{DFFEECAD-1C7B-4C88-91A9-F2292E879884}" srcId="{621517D3-2969-48B3-A8B0-5922D0B5E66D}" destId="{36D5FEEB-E59F-4E97-961C-5421271D1214}" srcOrd="0" destOrd="0" parTransId="{E85EC954-B127-49F0-8600-58C3F53A961F}" sibTransId="{6BE2897E-3F93-4A82-800D-20775797A859}"/>
    <dgm:cxn modelId="{5A317CB8-A5F5-4311-ADDF-F40344EC7590}" srcId="{621517D3-2969-48B3-A8B0-5922D0B5E66D}" destId="{68BDC252-4B51-4099-8485-28BBBC6AE8A3}" srcOrd="7" destOrd="0" parTransId="{F48B9CBE-3761-4A22-BA45-E2F8F58328B9}" sibTransId="{B24527F4-5221-41BF-BB50-5F5C09A5C86D}"/>
    <dgm:cxn modelId="{BF7906DC-1BD0-4C6E-BA6B-0639230A7DB2}" type="presOf" srcId="{817C46ED-C54F-4A33-BBF3-7077AB049C2E}" destId="{2C80B47A-6A4F-4237-91E5-DBAA7F87A93C}" srcOrd="0" destOrd="0" presId="urn:microsoft.com/office/officeart/2005/8/layout/vList2"/>
    <dgm:cxn modelId="{731C08E8-6F30-41CC-A585-9833EA58C654}" type="presOf" srcId="{2B9F740E-22BE-4012-8C39-B25C5F34782D}" destId="{53472C53-8C58-4C13-86A7-7848C9A64F7C}" srcOrd="0" destOrd="0" presId="urn:microsoft.com/office/officeart/2005/8/layout/vList2"/>
    <dgm:cxn modelId="{7111E4EC-84AD-4138-9FAC-8BB059F83982}" type="presOf" srcId="{4BE70625-1D8A-4A40-A55D-CA9C7B35F9A2}" destId="{A5300E68-15AF-41FD-B87C-99CD2729CF2E}" srcOrd="0" destOrd="0" presId="urn:microsoft.com/office/officeart/2005/8/layout/vList2"/>
    <dgm:cxn modelId="{5A81E8F6-BD8C-4610-AA0E-8089D772085F}" srcId="{621517D3-2969-48B3-A8B0-5922D0B5E66D}" destId="{F5D4BA88-FE5A-43D8-A9C9-57E6C1A62FD5}" srcOrd="4" destOrd="0" parTransId="{500A12E5-2842-4FC7-B513-3223DAD9C1A6}" sibTransId="{56C16434-A55A-45B3-85B7-3ADEE195782D}"/>
    <dgm:cxn modelId="{F890AB87-2DEC-4975-A7EF-0B283E6DE4F0}" type="presParOf" srcId="{E63EB923-39DE-46BD-BBD9-5AFA6FE00691}" destId="{A3F193FC-8B12-4737-8FCE-E43DE14FB5D9}" srcOrd="0" destOrd="0" presId="urn:microsoft.com/office/officeart/2005/8/layout/vList2"/>
    <dgm:cxn modelId="{32031AC0-7F07-4FC3-96AC-4BDDE38FF094}" type="presParOf" srcId="{E63EB923-39DE-46BD-BBD9-5AFA6FE00691}" destId="{C42A48D5-4407-4FE5-87CE-6D54AAA2B3C6}" srcOrd="1" destOrd="0" presId="urn:microsoft.com/office/officeart/2005/8/layout/vList2"/>
    <dgm:cxn modelId="{E76FC0DD-FBFD-4600-AFC1-04A6C7F2EA4E}" type="presParOf" srcId="{E63EB923-39DE-46BD-BBD9-5AFA6FE00691}" destId="{2C80B47A-6A4F-4237-91E5-DBAA7F87A93C}" srcOrd="2" destOrd="0" presId="urn:microsoft.com/office/officeart/2005/8/layout/vList2"/>
    <dgm:cxn modelId="{17EE60D1-ABCD-4BA7-9BD5-24155D473AB6}" type="presParOf" srcId="{E63EB923-39DE-46BD-BBD9-5AFA6FE00691}" destId="{704E99AB-C7B2-421D-BA3B-C071D5AA502D}" srcOrd="3" destOrd="0" presId="urn:microsoft.com/office/officeart/2005/8/layout/vList2"/>
    <dgm:cxn modelId="{642052B3-D31F-4DEA-BFB8-5E8163B798F1}" type="presParOf" srcId="{E63EB923-39DE-46BD-BBD9-5AFA6FE00691}" destId="{A5300E68-15AF-41FD-B87C-99CD2729CF2E}" srcOrd="4" destOrd="0" presId="urn:microsoft.com/office/officeart/2005/8/layout/vList2"/>
    <dgm:cxn modelId="{8CAFEAE2-B8D7-4B52-8687-70DCFDB6DDC7}" type="presParOf" srcId="{E63EB923-39DE-46BD-BBD9-5AFA6FE00691}" destId="{E1161772-25BB-4307-82E0-AE794922C2F3}" srcOrd="5" destOrd="0" presId="urn:microsoft.com/office/officeart/2005/8/layout/vList2"/>
    <dgm:cxn modelId="{EEED6238-FC72-46E3-A167-B96A2B00A547}" type="presParOf" srcId="{E63EB923-39DE-46BD-BBD9-5AFA6FE00691}" destId="{CAAF6B64-05B1-4D99-99ED-22B2F584D06B}" srcOrd="6" destOrd="0" presId="urn:microsoft.com/office/officeart/2005/8/layout/vList2"/>
    <dgm:cxn modelId="{55A39CED-9DA8-45E9-9E45-D597FE78C954}" type="presParOf" srcId="{E63EB923-39DE-46BD-BBD9-5AFA6FE00691}" destId="{71DFC6BF-4D4B-4B85-9CB9-A0B2F5140ABE}" srcOrd="7" destOrd="0" presId="urn:microsoft.com/office/officeart/2005/8/layout/vList2"/>
    <dgm:cxn modelId="{B0F7B24E-F6AC-4722-8A04-87FDF7C36DF6}" type="presParOf" srcId="{E63EB923-39DE-46BD-BBD9-5AFA6FE00691}" destId="{604CB48B-50E4-4A1C-B22E-6FF9C92314C9}" srcOrd="8" destOrd="0" presId="urn:microsoft.com/office/officeart/2005/8/layout/vList2"/>
    <dgm:cxn modelId="{CC8B877B-F514-45C9-880E-3E76E0B31546}" type="presParOf" srcId="{E63EB923-39DE-46BD-BBD9-5AFA6FE00691}" destId="{B676FEBA-92C2-4CEE-870F-9250BAE275FC}" srcOrd="9" destOrd="0" presId="urn:microsoft.com/office/officeart/2005/8/layout/vList2"/>
    <dgm:cxn modelId="{2AEED09E-E080-49CE-B583-0C9B2A3711F6}" type="presParOf" srcId="{E63EB923-39DE-46BD-BBD9-5AFA6FE00691}" destId="{4121659D-C1FA-4EBB-B2BE-85C14FA34AB3}" srcOrd="10" destOrd="0" presId="urn:microsoft.com/office/officeart/2005/8/layout/vList2"/>
    <dgm:cxn modelId="{5C65BB6F-466B-4D8A-81B8-18DEAB78F923}" type="presParOf" srcId="{E63EB923-39DE-46BD-BBD9-5AFA6FE00691}" destId="{01BC282E-8E8D-45C5-8C54-AC512CBC9809}" srcOrd="11" destOrd="0" presId="urn:microsoft.com/office/officeart/2005/8/layout/vList2"/>
    <dgm:cxn modelId="{1973BE5E-9A1D-435B-9BDB-3B3A9D9BE4F8}" type="presParOf" srcId="{E63EB923-39DE-46BD-BBD9-5AFA6FE00691}" destId="{53472C53-8C58-4C13-86A7-7848C9A64F7C}" srcOrd="12" destOrd="0" presId="urn:microsoft.com/office/officeart/2005/8/layout/vList2"/>
    <dgm:cxn modelId="{94F515DD-73A4-4168-AE49-44D35939B397}" type="presParOf" srcId="{E63EB923-39DE-46BD-BBD9-5AFA6FE00691}" destId="{27CE5980-0022-4805-AE31-2CEBFAD105BB}" srcOrd="13" destOrd="0" presId="urn:microsoft.com/office/officeart/2005/8/layout/vList2"/>
    <dgm:cxn modelId="{40703DA8-D3B8-47A6-82FA-73516796BB53}" type="presParOf" srcId="{E63EB923-39DE-46BD-BBD9-5AFA6FE00691}" destId="{CCA6F0ED-3278-4D29-A6CB-0E77A06CA344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0C64C06-522C-43E0-A222-6FAA2A271246}" type="doc">
      <dgm:prSet loTypeId="urn:microsoft.com/office/officeart/2005/8/layout/vList5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7DAA885-3357-49E2-B56A-C053AD8D4AF8}">
      <dgm:prSet/>
      <dgm:spPr/>
      <dgm:t>
        <a:bodyPr/>
        <a:lstStyle/>
        <a:p>
          <a:pPr rtl="0"/>
          <a:r>
            <a:rPr lang="en-US" b="0" dirty="0"/>
            <a:t>Meets all requirements set forth by the American Board of Pediatrics and American Board of Emergency Medicine</a:t>
          </a:r>
        </a:p>
      </dgm:t>
    </dgm:pt>
    <dgm:pt modelId="{53D3EAEF-AF22-476F-9F6E-FD46DBBE632C}" type="parTrans" cxnId="{0214AC50-8122-4881-97C5-D7C284B6D64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2076888-33A7-4212-AFE0-E5D41DC2C6E9}" type="sibTrans" cxnId="{0214AC50-8122-4881-97C5-D7C284B6D64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3C63CD0-2C64-405A-BA2D-6789430AECFC}" type="pres">
      <dgm:prSet presAssocID="{00C64C06-522C-43E0-A222-6FAA2A271246}" presName="Name0" presStyleCnt="0">
        <dgm:presLayoutVars>
          <dgm:dir/>
          <dgm:animLvl val="lvl"/>
          <dgm:resizeHandles val="exact"/>
        </dgm:presLayoutVars>
      </dgm:prSet>
      <dgm:spPr/>
    </dgm:pt>
    <dgm:pt modelId="{B8B2F1C2-1D0A-4FCA-B5A1-2669E583CEDD}" type="pres">
      <dgm:prSet presAssocID="{07DAA885-3357-49E2-B56A-C053AD8D4AF8}" presName="linNode" presStyleCnt="0"/>
      <dgm:spPr/>
    </dgm:pt>
    <dgm:pt modelId="{89766382-223A-4CAB-AACE-279431EC1F00}" type="pres">
      <dgm:prSet presAssocID="{07DAA885-3357-49E2-B56A-C053AD8D4AF8}" presName="parentText" presStyleLbl="node1" presStyleIdx="0" presStyleCnt="1" custScaleX="257534" custScaleY="51852" custLinFactNeighborX="-4303" custLinFactNeighborY="-12963">
        <dgm:presLayoutVars>
          <dgm:chMax val="1"/>
          <dgm:bulletEnabled val="1"/>
        </dgm:presLayoutVars>
      </dgm:prSet>
      <dgm:spPr/>
    </dgm:pt>
  </dgm:ptLst>
  <dgm:cxnLst>
    <dgm:cxn modelId="{0214AC50-8122-4881-97C5-D7C284B6D64B}" srcId="{00C64C06-522C-43E0-A222-6FAA2A271246}" destId="{07DAA885-3357-49E2-B56A-C053AD8D4AF8}" srcOrd="0" destOrd="0" parTransId="{53D3EAEF-AF22-476F-9F6E-FD46DBBE632C}" sibTransId="{E2076888-33A7-4212-AFE0-E5D41DC2C6E9}"/>
    <dgm:cxn modelId="{D8CC33E5-E610-4355-B906-CE3512C47DF8}" type="presOf" srcId="{07DAA885-3357-49E2-B56A-C053AD8D4AF8}" destId="{89766382-223A-4CAB-AACE-279431EC1F00}" srcOrd="0" destOrd="0" presId="urn:microsoft.com/office/officeart/2005/8/layout/vList5"/>
    <dgm:cxn modelId="{B0DDA9EC-349C-4E74-B871-EB4E1969FE04}" type="presOf" srcId="{00C64C06-522C-43E0-A222-6FAA2A271246}" destId="{73C63CD0-2C64-405A-BA2D-6789430AECFC}" srcOrd="0" destOrd="0" presId="urn:microsoft.com/office/officeart/2005/8/layout/vList5"/>
    <dgm:cxn modelId="{AF55627F-973F-4CA0-B93D-FAC34BB1653E}" type="presParOf" srcId="{73C63CD0-2C64-405A-BA2D-6789430AECFC}" destId="{B8B2F1C2-1D0A-4FCA-B5A1-2669E583CEDD}" srcOrd="0" destOrd="0" presId="urn:microsoft.com/office/officeart/2005/8/layout/vList5"/>
    <dgm:cxn modelId="{5593D8E5-F4BE-41DF-B003-C941B3F6CE9F}" type="presParOf" srcId="{B8B2F1C2-1D0A-4FCA-B5A1-2669E583CEDD}" destId="{89766382-223A-4CAB-AACE-279431EC1F00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D419BD3C-A122-464A-9356-3A8C98E156AC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4653B4EC-69B9-4738-B219-6070B35CABFC}">
      <dgm:prSet custT="1"/>
      <dgm:spPr/>
      <dgm:t>
        <a:bodyPr/>
        <a:lstStyle/>
        <a:p>
          <a:pPr rtl="0"/>
          <a:r>
            <a:rPr lang="en-US" sz="2000" b="1" dirty="0"/>
            <a:t>8.25 months PEM* </a:t>
          </a:r>
        </a:p>
      </dgm:t>
    </dgm:pt>
    <dgm:pt modelId="{775FF120-EB95-4C47-9BAB-4A72E715A4D9}" type="parTrans" cxnId="{B8D19A21-8B12-4079-A7D3-1BC65E37AA15}">
      <dgm:prSet/>
      <dgm:spPr/>
      <dgm:t>
        <a:bodyPr/>
        <a:lstStyle/>
        <a:p>
          <a:endParaRPr lang="en-US" sz="1600" b="1"/>
        </a:p>
      </dgm:t>
    </dgm:pt>
    <dgm:pt modelId="{B75B9809-CA97-40B3-A54B-AB3F3F7D200B}" type="sibTrans" cxnId="{B8D19A21-8B12-4079-A7D3-1BC65E37AA15}">
      <dgm:prSet/>
      <dgm:spPr/>
      <dgm:t>
        <a:bodyPr/>
        <a:lstStyle/>
        <a:p>
          <a:endParaRPr lang="en-US" sz="1600" b="1"/>
        </a:p>
      </dgm:t>
    </dgm:pt>
    <dgm:pt modelId="{A9DD97A6-7AFE-42B7-B0F1-3D001F6523C6}">
      <dgm:prSet custT="1"/>
      <dgm:spPr/>
      <dgm:t>
        <a:bodyPr/>
        <a:lstStyle/>
        <a:p>
          <a:pPr rtl="0"/>
          <a:r>
            <a:rPr lang="en-US" sz="2000" b="1" dirty="0"/>
            <a:t>2 weeks pediatric anesthesia </a:t>
          </a:r>
        </a:p>
      </dgm:t>
    </dgm:pt>
    <dgm:pt modelId="{F3B01DDD-F584-44B0-B6F9-726CD2267F94}" type="parTrans" cxnId="{B6151EDB-98C5-40CA-8E0A-20EA4B0B994C}">
      <dgm:prSet/>
      <dgm:spPr/>
      <dgm:t>
        <a:bodyPr/>
        <a:lstStyle/>
        <a:p>
          <a:endParaRPr lang="en-US" sz="1600" b="1"/>
        </a:p>
      </dgm:t>
    </dgm:pt>
    <dgm:pt modelId="{97E3B622-3C78-455F-A44E-137C7B59051D}" type="sibTrans" cxnId="{B6151EDB-98C5-40CA-8E0A-20EA4B0B994C}">
      <dgm:prSet/>
      <dgm:spPr/>
      <dgm:t>
        <a:bodyPr/>
        <a:lstStyle/>
        <a:p>
          <a:endParaRPr lang="en-US" sz="1600" b="1"/>
        </a:p>
      </dgm:t>
    </dgm:pt>
    <dgm:pt modelId="{D0F3875E-6DB8-4D33-BB40-E06B45FEB135}">
      <dgm:prSet custT="1"/>
      <dgm:spPr/>
      <dgm:t>
        <a:bodyPr/>
        <a:lstStyle/>
        <a:p>
          <a:pPr rtl="0"/>
          <a:r>
            <a:rPr lang="en-US" sz="2000" b="1" dirty="0"/>
            <a:t>1 week pediatric sedation</a:t>
          </a:r>
        </a:p>
      </dgm:t>
    </dgm:pt>
    <dgm:pt modelId="{D62A0DB1-2AA7-4EEC-9F7F-454E41193736}" type="parTrans" cxnId="{E7D462B1-A6AC-423B-BC3D-F63FB7A51891}">
      <dgm:prSet/>
      <dgm:spPr/>
      <dgm:t>
        <a:bodyPr/>
        <a:lstStyle/>
        <a:p>
          <a:endParaRPr lang="en-US" sz="1600" b="1"/>
        </a:p>
      </dgm:t>
    </dgm:pt>
    <dgm:pt modelId="{8313B451-EC68-46D7-BF4E-6788E43B07C4}" type="sibTrans" cxnId="{E7D462B1-A6AC-423B-BC3D-F63FB7A51891}">
      <dgm:prSet/>
      <dgm:spPr/>
      <dgm:t>
        <a:bodyPr/>
        <a:lstStyle/>
        <a:p>
          <a:endParaRPr lang="en-US" sz="1600" b="1"/>
        </a:p>
      </dgm:t>
    </dgm:pt>
    <dgm:pt modelId="{C8363FA8-F4E4-4B67-A291-830FD8158967}">
      <dgm:prSet custT="1"/>
      <dgm:spPr/>
      <dgm:t>
        <a:bodyPr/>
        <a:lstStyle/>
        <a:p>
          <a:pPr rtl="0"/>
          <a:r>
            <a:rPr lang="en-US" sz="2000" b="1" dirty="0"/>
            <a:t>1 month PICU (Main and West Campus)</a:t>
          </a:r>
        </a:p>
      </dgm:t>
    </dgm:pt>
    <dgm:pt modelId="{7212E946-06DD-4773-B2CA-F2AE6B99833B}" type="parTrans" cxnId="{38F35A54-9B6F-419D-A40E-80CCF89AA38C}">
      <dgm:prSet/>
      <dgm:spPr/>
      <dgm:t>
        <a:bodyPr/>
        <a:lstStyle/>
        <a:p>
          <a:endParaRPr lang="en-US" sz="1600" b="1"/>
        </a:p>
      </dgm:t>
    </dgm:pt>
    <dgm:pt modelId="{E12ED4C5-A9B7-4E02-AC08-0F10A760C465}" type="sibTrans" cxnId="{38F35A54-9B6F-419D-A40E-80CCF89AA38C}">
      <dgm:prSet/>
      <dgm:spPr/>
      <dgm:t>
        <a:bodyPr/>
        <a:lstStyle/>
        <a:p>
          <a:endParaRPr lang="en-US" sz="1600" b="1"/>
        </a:p>
      </dgm:t>
    </dgm:pt>
    <dgm:pt modelId="{3280A32F-05FA-4BEA-A931-8C2014BF1D30}">
      <dgm:prSet custT="1"/>
      <dgm:spPr/>
      <dgm:t>
        <a:bodyPr/>
        <a:lstStyle/>
        <a:p>
          <a:pPr rtl="0"/>
          <a:r>
            <a:rPr lang="en-US" sz="2000" b="1" dirty="0"/>
            <a:t>1 month adult emergency medicine- Memorial Hermann </a:t>
          </a:r>
        </a:p>
      </dgm:t>
    </dgm:pt>
    <dgm:pt modelId="{6DC7B5E1-09D8-4024-A1C8-1EC4E067CB6A}" type="parTrans" cxnId="{B148CC33-EF91-4809-840C-E9C1EB66E77B}">
      <dgm:prSet/>
      <dgm:spPr/>
      <dgm:t>
        <a:bodyPr/>
        <a:lstStyle/>
        <a:p>
          <a:endParaRPr lang="en-US" sz="1600" b="1"/>
        </a:p>
      </dgm:t>
    </dgm:pt>
    <dgm:pt modelId="{39E44359-3754-4E7B-BB27-6F29E2979F16}" type="sibTrans" cxnId="{B148CC33-EF91-4809-840C-E9C1EB66E77B}">
      <dgm:prSet/>
      <dgm:spPr/>
      <dgm:t>
        <a:bodyPr/>
        <a:lstStyle/>
        <a:p>
          <a:endParaRPr lang="en-US" sz="1600" b="1"/>
        </a:p>
      </dgm:t>
    </dgm:pt>
    <dgm:pt modelId="{2B819AD2-F44C-437E-BD01-68EB5D179825}">
      <dgm:prSet custT="1"/>
      <dgm:spPr/>
      <dgm:t>
        <a:bodyPr/>
        <a:lstStyle/>
        <a:p>
          <a:pPr rtl="0"/>
          <a:r>
            <a:rPr lang="en-US" sz="2000" b="1" dirty="0"/>
            <a:t>1 month ultrasound</a:t>
          </a:r>
        </a:p>
      </dgm:t>
    </dgm:pt>
    <dgm:pt modelId="{CD1E5CF9-1D32-4C47-B8EB-4A7416230E8E}" type="parTrans" cxnId="{208FAC46-84F6-4E5C-9AD5-D2045F2F3795}">
      <dgm:prSet/>
      <dgm:spPr/>
      <dgm:t>
        <a:bodyPr/>
        <a:lstStyle/>
        <a:p>
          <a:endParaRPr lang="en-US" sz="1600" b="1"/>
        </a:p>
      </dgm:t>
    </dgm:pt>
    <dgm:pt modelId="{F1FAFEE5-B1F1-41A1-B9F9-EB0A30B15EA2}" type="sibTrans" cxnId="{208FAC46-84F6-4E5C-9AD5-D2045F2F3795}">
      <dgm:prSet/>
      <dgm:spPr/>
      <dgm:t>
        <a:bodyPr/>
        <a:lstStyle/>
        <a:p>
          <a:endParaRPr lang="en-US" sz="1600" b="1"/>
        </a:p>
      </dgm:t>
    </dgm:pt>
    <dgm:pt modelId="{C7D4A92C-1F2E-44C3-86FE-18F952204557}">
      <dgm:prSet custT="1"/>
      <dgm:spPr/>
      <dgm:t>
        <a:bodyPr/>
        <a:lstStyle/>
        <a:p>
          <a:pPr rtl="0"/>
          <a:r>
            <a:rPr lang="en-US" sz="1600" b="1" dirty="0"/>
            <a:t>*</a:t>
          </a:r>
          <a:r>
            <a:rPr lang="en-US" sz="1600" b="0" dirty="0"/>
            <a:t>Total ED Time at Texas Children’s Hospital Main and West Campus = 950 Hours (</a:t>
          </a:r>
          <a:r>
            <a:rPr lang="en-US" sz="1600" b="0" dirty="0" err="1"/>
            <a:t>approx</a:t>
          </a:r>
          <a:r>
            <a:rPr lang="en-US" sz="1600" b="0" dirty="0"/>
            <a:t> 32 clinical </a:t>
          </a:r>
          <a:r>
            <a:rPr lang="en-US" sz="1600" b="0" dirty="0" err="1"/>
            <a:t>hrs</a:t>
          </a:r>
          <a:r>
            <a:rPr lang="en-US" sz="1600" b="0" dirty="0"/>
            <a:t>/week on PEM rotations)</a:t>
          </a:r>
        </a:p>
      </dgm:t>
    </dgm:pt>
    <dgm:pt modelId="{4AB8F8BC-2B4B-4915-870D-C42E296011A7}" type="parTrans" cxnId="{ACBAA2A4-F0C2-4E16-9AF4-ED67BFBA7A4D}">
      <dgm:prSet/>
      <dgm:spPr/>
      <dgm:t>
        <a:bodyPr/>
        <a:lstStyle/>
        <a:p>
          <a:endParaRPr lang="en-US" sz="1600" b="1"/>
        </a:p>
      </dgm:t>
    </dgm:pt>
    <dgm:pt modelId="{7096DB9A-167B-4F48-87BD-9A249EFEBEB6}" type="sibTrans" cxnId="{ACBAA2A4-F0C2-4E16-9AF4-ED67BFBA7A4D}">
      <dgm:prSet/>
      <dgm:spPr/>
      <dgm:t>
        <a:bodyPr/>
        <a:lstStyle/>
        <a:p>
          <a:endParaRPr lang="en-US" sz="1600" b="1"/>
        </a:p>
      </dgm:t>
    </dgm:pt>
    <dgm:pt modelId="{19BF1AA4-B9F2-4EBA-B139-418B69FF5B45}" type="pres">
      <dgm:prSet presAssocID="{D419BD3C-A122-464A-9356-3A8C98E156AC}" presName="linear" presStyleCnt="0">
        <dgm:presLayoutVars>
          <dgm:animLvl val="lvl"/>
          <dgm:resizeHandles val="exact"/>
        </dgm:presLayoutVars>
      </dgm:prSet>
      <dgm:spPr/>
    </dgm:pt>
    <dgm:pt modelId="{533D111A-521A-4573-969B-C08B09B2B8F8}" type="pres">
      <dgm:prSet presAssocID="{4653B4EC-69B9-4738-B219-6070B35CABFC}" presName="parentText" presStyleLbl="node1" presStyleIdx="0" presStyleCnt="7">
        <dgm:presLayoutVars>
          <dgm:chMax val="0"/>
          <dgm:bulletEnabled val="1"/>
        </dgm:presLayoutVars>
      </dgm:prSet>
      <dgm:spPr/>
    </dgm:pt>
    <dgm:pt modelId="{CC5AFF2E-0A5D-46D6-8E98-CF84A1A4E5B0}" type="pres">
      <dgm:prSet presAssocID="{B75B9809-CA97-40B3-A54B-AB3F3F7D200B}" presName="spacer" presStyleCnt="0"/>
      <dgm:spPr/>
    </dgm:pt>
    <dgm:pt modelId="{2DEFFDAF-D655-42E8-A428-6A63D6FE20AA}" type="pres">
      <dgm:prSet presAssocID="{A9DD97A6-7AFE-42B7-B0F1-3D001F6523C6}" presName="parentText" presStyleLbl="node1" presStyleIdx="1" presStyleCnt="7">
        <dgm:presLayoutVars>
          <dgm:chMax val="0"/>
          <dgm:bulletEnabled val="1"/>
        </dgm:presLayoutVars>
      </dgm:prSet>
      <dgm:spPr/>
    </dgm:pt>
    <dgm:pt modelId="{E5987D0F-9E0A-4C58-8492-C1DDC028E8A9}" type="pres">
      <dgm:prSet presAssocID="{97E3B622-3C78-455F-A44E-137C7B59051D}" presName="spacer" presStyleCnt="0"/>
      <dgm:spPr/>
    </dgm:pt>
    <dgm:pt modelId="{4C8D3A4A-FAE5-46AE-95A5-92BB2AC42507}" type="pres">
      <dgm:prSet presAssocID="{D0F3875E-6DB8-4D33-BB40-E06B45FEB135}" presName="parentText" presStyleLbl="node1" presStyleIdx="2" presStyleCnt="7">
        <dgm:presLayoutVars>
          <dgm:chMax val="0"/>
          <dgm:bulletEnabled val="1"/>
        </dgm:presLayoutVars>
      </dgm:prSet>
      <dgm:spPr/>
    </dgm:pt>
    <dgm:pt modelId="{62F2BBF2-A8A3-428C-B7D9-5F461168198D}" type="pres">
      <dgm:prSet presAssocID="{8313B451-EC68-46D7-BF4E-6788E43B07C4}" presName="spacer" presStyleCnt="0"/>
      <dgm:spPr/>
    </dgm:pt>
    <dgm:pt modelId="{4699C62B-7E86-4795-AB63-C33BA5D80B8F}" type="pres">
      <dgm:prSet presAssocID="{C8363FA8-F4E4-4B67-A291-830FD8158967}" presName="parentText" presStyleLbl="node1" presStyleIdx="3" presStyleCnt="7">
        <dgm:presLayoutVars>
          <dgm:chMax val="0"/>
          <dgm:bulletEnabled val="1"/>
        </dgm:presLayoutVars>
      </dgm:prSet>
      <dgm:spPr/>
    </dgm:pt>
    <dgm:pt modelId="{E70AABF7-6AD2-4320-982B-4892AA30FC03}" type="pres">
      <dgm:prSet presAssocID="{E12ED4C5-A9B7-4E02-AC08-0F10A760C465}" presName="spacer" presStyleCnt="0"/>
      <dgm:spPr/>
    </dgm:pt>
    <dgm:pt modelId="{DA86E64D-8E16-4851-9AE5-48CC2F408BCE}" type="pres">
      <dgm:prSet presAssocID="{3280A32F-05FA-4BEA-A931-8C2014BF1D30}" presName="parentText" presStyleLbl="node1" presStyleIdx="4" presStyleCnt="7">
        <dgm:presLayoutVars>
          <dgm:chMax val="0"/>
          <dgm:bulletEnabled val="1"/>
        </dgm:presLayoutVars>
      </dgm:prSet>
      <dgm:spPr/>
    </dgm:pt>
    <dgm:pt modelId="{EDBA2E45-C5DF-4DE1-B562-F15C5818A859}" type="pres">
      <dgm:prSet presAssocID="{39E44359-3754-4E7B-BB27-6F29E2979F16}" presName="spacer" presStyleCnt="0"/>
      <dgm:spPr/>
    </dgm:pt>
    <dgm:pt modelId="{E5A15FA5-1FDE-42E7-A97E-D1DF43F10D3D}" type="pres">
      <dgm:prSet presAssocID="{2B819AD2-F44C-437E-BD01-68EB5D179825}" presName="parentText" presStyleLbl="node1" presStyleIdx="5" presStyleCnt="7">
        <dgm:presLayoutVars>
          <dgm:chMax val="0"/>
          <dgm:bulletEnabled val="1"/>
        </dgm:presLayoutVars>
      </dgm:prSet>
      <dgm:spPr/>
    </dgm:pt>
    <dgm:pt modelId="{34DC5584-EBFE-43F2-AFA2-DD5F3BCEAA9B}" type="pres">
      <dgm:prSet presAssocID="{F1FAFEE5-B1F1-41A1-B9F9-EB0A30B15EA2}" presName="spacer" presStyleCnt="0"/>
      <dgm:spPr/>
    </dgm:pt>
    <dgm:pt modelId="{8C126F77-E58A-49C9-884D-FBDF88DCFB5A}" type="pres">
      <dgm:prSet presAssocID="{C7D4A92C-1F2E-44C3-86FE-18F952204557}" presName="parentText" presStyleLbl="node1" presStyleIdx="6" presStyleCnt="7">
        <dgm:presLayoutVars>
          <dgm:chMax val="0"/>
          <dgm:bulletEnabled val="1"/>
        </dgm:presLayoutVars>
      </dgm:prSet>
      <dgm:spPr/>
    </dgm:pt>
  </dgm:ptLst>
  <dgm:cxnLst>
    <dgm:cxn modelId="{E6E31914-BF5D-46BB-BBA6-600D68807B74}" type="presOf" srcId="{3280A32F-05FA-4BEA-A931-8C2014BF1D30}" destId="{DA86E64D-8E16-4851-9AE5-48CC2F408BCE}" srcOrd="0" destOrd="0" presId="urn:microsoft.com/office/officeart/2005/8/layout/vList2"/>
    <dgm:cxn modelId="{B8D19A21-8B12-4079-A7D3-1BC65E37AA15}" srcId="{D419BD3C-A122-464A-9356-3A8C98E156AC}" destId="{4653B4EC-69B9-4738-B219-6070B35CABFC}" srcOrd="0" destOrd="0" parTransId="{775FF120-EB95-4C47-9BAB-4A72E715A4D9}" sibTransId="{B75B9809-CA97-40B3-A54B-AB3F3F7D200B}"/>
    <dgm:cxn modelId="{B148CC33-EF91-4809-840C-E9C1EB66E77B}" srcId="{D419BD3C-A122-464A-9356-3A8C98E156AC}" destId="{3280A32F-05FA-4BEA-A931-8C2014BF1D30}" srcOrd="4" destOrd="0" parTransId="{6DC7B5E1-09D8-4024-A1C8-1EC4E067CB6A}" sibTransId="{39E44359-3754-4E7B-BB27-6F29E2979F16}"/>
    <dgm:cxn modelId="{2134EA3D-1117-4C55-8BF9-FE8D8ED2F4A3}" type="presOf" srcId="{D419BD3C-A122-464A-9356-3A8C98E156AC}" destId="{19BF1AA4-B9F2-4EBA-B139-418B69FF5B45}" srcOrd="0" destOrd="0" presId="urn:microsoft.com/office/officeart/2005/8/layout/vList2"/>
    <dgm:cxn modelId="{208FAC46-84F6-4E5C-9AD5-D2045F2F3795}" srcId="{D419BD3C-A122-464A-9356-3A8C98E156AC}" destId="{2B819AD2-F44C-437E-BD01-68EB5D179825}" srcOrd="5" destOrd="0" parTransId="{CD1E5CF9-1D32-4C47-B8EB-4A7416230E8E}" sibTransId="{F1FAFEE5-B1F1-41A1-B9F9-EB0A30B15EA2}"/>
    <dgm:cxn modelId="{38F35A54-9B6F-419D-A40E-80CCF89AA38C}" srcId="{D419BD3C-A122-464A-9356-3A8C98E156AC}" destId="{C8363FA8-F4E4-4B67-A291-830FD8158967}" srcOrd="3" destOrd="0" parTransId="{7212E946-06DD-4773-B2CA-F2AE6B99833B}" sibTransId="{E12ED4C5-A9B7-4E02-AC08-0F10A760C465}"/>
    <dgm:cxn modelId="{29B8F554-0590-41F1-BE55-2D6810E199A2}" type="presOf" srcId="{D0F3875E-6DB8-4D33-BB40-E06B45FEB135}" destId="{4C8D3A4A-FAE5-46AE-95A5-92BB2AC42507}" srcOrd="0" destOrd="0" presId="urn:microsoft.com/office/officeart/2005/8/layout/vList2"/>
    <dgm:cxn modelId="{3B3A9557-1D1C-457B-8D33-FEF220BB2779}" type="presOf" srcId="{4653B4EC-69B9-4738-B219-6070B35CABFC}" destId="{533D111A-521A-4573-969B-C08B09B2B8F8}" srcOrd="0" destOrd="0" presId="urn:microsoft.com/office/officeart/2005/8/layout/vList2"/>
    <dgm:cxn modelId="{08EE5063-33F8-46BA-96A2-38D69D0F1876}" type="presOf" srcId="{A9DD97A6-7AFE-42B7-B0F1-3D001F6523C6}" destId="{2DEFFDAF-D655-42E8-A428-6A63D6FE20AA}" srcOrd="0" destOrd="0" presId="urn:microsoft.com/office/officeart/2005/8/layout/vList2"/>
    <dgm:cxn modelId="{3F055797-C714-4FE0-82C8-7922A08C0576}" type="presOf" srcId="{C8363FA8-F4E4-4B67-A291-830FD8158967}" destId="{4699C62B-7E86-4795-AB63-C33BA5D80B8F}" srcOrd="0" destOrd="0" presId="urn:microsoft.com/office/officeart/2005/8/layout/vList2"/>
    <dgm:cxn modelId="{ACBAA2A4-F0C2-4E16-9AF4-ED67BFBA7A4D}" srcId="{D419BD3C-A122-464A-9356-3A8C98E156AC}" destId="{C7D4A92C-1F2E-44C3-86FE-18F952204557}" srcOrd="6" destOrd="0" parTransId="{4AB8F8BC-2B4B-4915-870D-C42E296011A7}" sibTransId="{7096DB9A-167B-4F48-87BD-9A249EFEBEB6}"/>
    <dgm:cxn modelId="{CB711FAF-F954-4C3F-B2D2-2365E064CE80}" type="presOf" srcId="{2B819AD2-F44C-437E-BD01-68EB5D179825}" destId="{E5A15FA5-1FDE-42E7-A97E-D1DF43F10D3D}" srcOrd="0" destOrd="0" presId="urn:microsoft.com/office/officeart/2005/8/layout/vList2"/>
    <dgm:cxn modelId="{E7D462B1-A6AC-423B-BC3D-F63FB7A51891}" srcId="{D419BD3C-A122-464A-9356-3A8C98E156AC}" destId="{D0F3875E-6DB8-4D33-BB40-E06B45FEB135}" srcOrd="2" destOrd="0" parTransId="{D62A0DB1-2AA7-4EEC-9F7F-454E41193736}" sibTransId="{8313B451-EC68-46D7-BF4E-6788E43B07C4}"/>
    <dgm:cxn modelId="{B6151EDB-98C5-40CA-8E0A-20EA4B0B994C}" srcId="{D419BD3C-A122-464A-9356-3A8C98E156AC}" destId="{A9DD97A6-7AFE-42B7-B0F1-3D001F6523C6}" srcOrd="1" destOrd="0" parTransId="{F3B01DDD-F584-44B0-B6F9-726CD2267F94}" sibTransId="{97E3B622-3C78-455F-A44E-137C7B59051D}"/>
    <dgm:cxn modelId="{D7150DE6-1DE2-46CB-B91D-B20E6484760C}" type="presOf" srcId="{C7D4A92C-1F2E-44C3-86FE-18F952204557}" destId="{8C126F77-E58A-49C9-884D-FBDF88DCFB5A}" srcOrd="0" destOrd="0" presId="urn:microsoft.com/office/officeart/2005/8/layout/vList2"/>
    <dgm:cxn modelId="{A132F406-0524-4762-A33B-99A76DF4341F}" type="presParOf" srcId="{19BF1AA4-B9F2-4EBA-B139-418B69FF5B45}" destId="{533D111A-521A-4573-969B-C08B09B2B8F8}" srcOrd="0" destOrd="0" presId="urn:microsoft.com/office/officeart/2005/8/layout/vList2"/>
    <dgm:cxn modelId="{0E430E1B-9FEF-4E00-820B-EEF173798B7E}" type="presParOf" srcId="{19BF1AA4-B9F2-4EBA-B139-418B69FF5B45}" destId="{CC5AFF2E-0A5D-46D6-8E98-CF84A1A4E5B0}" srcOrd="1" destOrd="0" presId="urn:microsoft.com/office/officeart/2005/8/layout/vList2"/>
    <dgm:cxn modelId="{E1712042-F1A0-4E63-A27F-683D8E4E0DE5}" type="presParOf" srcId="{19BF1AA4-B9F2-4EBA-B139-418B69FF5B45}" destId="{2DEFFDAF-D655-42E8-A428-6A63D6FE20AA}" srcOrd="2" destOrd="0" presId="urn:microsoft.com/office/officeart/2005/8/layout/vList2"/>
    <dgm:cxn modelId="{745221DB-E145-4876-ADBB-D71FFBD7E33A}" type="presParOf" srcId="{19BF1AA4-B9F2-4EBA-B139-418B69FF5B45}" destId="{E5987D0F-9E0A-4C58-8492-C1DDC028E8A9}" srcOrd="3" destOrd="0" presId="urn:microsoft.com/office/officeart/2005/8/layout/vList2"/>
    <dgm:cxn modelId="{6E0F0742-806D-4DF1-B129-A8FF15022C17}" type="presParOf" srcId="{19BF1AA4-B9F2-4EBA-B139-418B69FF5B45}" destId="{4C8D3A4A-FAE5-46AE-95A5-92BB2AC42507}" srcOrd="4" destOrd="0" presId="urn:microsoft.com/office/officeart/2005/8/layout/vList2"/>
    <dgm:cxn modelId="{6653EA88-8EC5-4738-A8CB-666358840082}" type="presParOf" srcId="{19BF1AA4-B9F2-4EBA-B139-418B69FF5B45}" destId="{62F2BBF2-A8A3-428C-B7D9-5F461168198D}" srcOrd="5" destOrd="0" presId="urn:microsoft.com/office/officeart/2005/8/layout/vList2"/>
    <dgm:cxn modelId="{4159BB2B-9FF7-497C-926A-240E92E0D38A}" type="presParOf" srcId="{19BF1AA4-B9F2-4EBA-B139-418B69FF5B45}" destId="{4699C62B-7E86-4795-AB63-C33BA5D80B8F}" srcOrd="6" destOrd="0" presId="urn:microsoft.com/office/officeart/2005/8/layout/vList2"/>
    <dgm:cxn modelId="{60A645F7-65F1-4E08-8345-24BCABBAEE60}" type="presParOf" srcId="{19BF1AA4-B9F2-4EBA-B139-418B69FF5B45}" destId="{E70AABF7-6AD2-4320-982B-4892AA30FC03}" srcOrd="7" destOrd="0" presId="urn:microsoft.com/office/officeart/2005/8/layout/vList2"/>
    <dgm:cxn modelId="{6B9B9B01-29AC-4DF5-8E83-FFC9ECFD415C}" type="presParOf" srcId="{19BF1AA4-B9F2-4EBA-B139-418B69FF5B45}" destId="{DA86E64D-8E16-4851-9AE5-48CC2F408BCE}" srcOrd="8" destOrd="0" presId="urn:microsoft.com/office/officeart/2005/8/layout/vList2"/>
    <dgm:cxn modelId="{A12DF270-1C96-48CB-8517-B52D4CAC65A8}" type="presParOf" srcId="{19BF1AA4-B9F2-4EBA-B139-418B69FF5B45}" destId="{EDBA2E45-C5DF-4DE1-B562-F15C5818A859}" srcOrd="9" destOrd="0" presId="urn:microsoft.com/office/officeart/2005/8/layout/vList2"/>
    <dgm:cxn modelId="{8E0329BB-CEF9-4F29-8831-9F2EF6324B35}" type="presParOf" srcId="{19BF1AA4-B9F2-4EBA-B139-418B69FF5B45}" destId="{E5A15FA5-1FDE-42E7-A97E-D1DF43F10D3D}" srcOrd="10" destOrd="0" presId="urn:microsoft.com/office/officeart/2005/8/layout/vList2"/>
    <dgm:cxn modelId="{23B5917B-7B52-4BA7-8F47-E0EC3159BB3E}" type="presParOf" srcId="{19BF1AA4-B9F2-4EBA-B139-418B69FF5B45}" destId="{34DC5584-EBFE-43F2-AFA2-DD5F3BCEAA9B}" srcOrd="11" destOrd="0" presId="urn:microsoft.com/office/officeart/2005/8/layout/vList2"/>
    <dgm:cxn modelId="{8D45B9A4-C21B-450C-88FE-F760C5DEDC75}" type="presParOf" srcId="{19BF1AA4-B9F2-4EBA-B139-418B69FF5B45}" destId="{8C126F77-E58A-49C9-884D-FBDF88DCFB5A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37C1F660-0254-41BE-855D-1F75883EE4CA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46E84136-676F-406B-A8C7-1C68D7E9E779}">
      <dgm:prSet custT="1"/>
      <dgm:spPr/>
      <dgm:t>
        <a:bodyPr/>
        <a:lstStyle/>
        <a:p>
          <a:pPr rtl="0"/>
          <a:r>
            <a:rPr lang="en-US" sz="2000" b="1" dirty="0"/>
            <a:t>7.75 months PEM* </a:t>
          </a:r>
        </a:p>
      </dgm:t>
    </dgm:pt>
    <dgm:pt modelId="{2B55C666-E748-4DD2-A6A7-88B8E8F1A56C}" type="parTrans" cxnId="{B41342F2-F81F-444B-8A96-5BA6930DBC2F}">
      <dgm:prSet/>
      <dgm:spPr/>
      <dgm:t>
        <a:bodyPr/>
        <a:lstStyle/>
        <a:p>
          <a:endParaRPr lang="en-US" sz="1600" b="1"/>
        </a:p>
      </dgm:t>
    </dgm:pt>
    <dgm:pt modelId="{B4BC64DD-1639-44E3-9806-365E6A739696}" type="sibTrans" cxnId="{B41342F2-F81F-444B-8A96-5BA6930DBC2F}">
      <dgm:prSet/>
      <dgm:spPr/>
      <dgm:t>
        <a:bodyPr/>
        <a:lstStyle/>
        <a:p>
          <a:endParaRPr lang="en-US" sz="1600" b="1"/>
        </a:p>
      </dgm:t>
    </dgm:pt>
    <dgm:pt modelId="{887AB10F-732D-4D71-9680-BDE013AEE1EC}">
      <dgm:prSet custT="1"/>
      <dgm:spPr/>
      <dgm:t>
        <a:bodyPr/>
        <a:lstStyle/>
        <a:p>
          <a:pPr rtl="0"/>
          <a:r>
            <a:rPr lang="en-US" sz="2000" b="1" dirty="0"/>
            <a:t>2 weeks pediatric anesthesia</a:t>
          </a:r>
        </a:p>
      </dgm:t>
    </dgm:pt>
    <dgm:pt modelId="{26AC8985-9C11-4B9A-9124-FE608BE28C60}" type="parTrans" cxnId="{E62DB65D-F42E-44AC-A08E-836168CD2A47}">
      <dgm:prSet/>
      <dgm:spPr/>
      <dgm:t>
        <a:bodyPr/>
        <a:lstStyle/>
        <a:p>
          <a:endParaRPr lang="en-US" sz="1600" b="1"/>
        </a:p>
      </dgm:t>
    </dgm:pt>
    <dgm:pt modelId="{1F631014-09A1-4058-8C5D-0626CD5E438E}" type="sibTrans" cxnId="{E62DB65D-F42E-44AC-A08E-836168CD2A47}">
      <dgm:prSet/>
      <dgm:spPr/>
      <dgm:t>
        <a:bodyPr/>
        <a:lstStyle/>
        <a:p>
          <a:endParaRPr lang="en-US" sz="1600" b="1"/>
        </a:p>
      </dgm:t>
    </dgm:pt>
    <dgm:pt modelId="{4B04142B-85CB-4C3D-9217-98DFDF8B63A6}">
      <dgm:prSet custT="1"/>
      <dgm:spPr/>
      <dgm:t>
        <a:bodyPr/>
        <a:lstStyle/>
        <a:p>
          <a:pPr rtl="0"/>
          <a:r>
            <a:rPr lang="en-US" sz="2000" b="1" dirty="0"/>
            <a:t>1 week pediatric sedation</a:t>
          </a:r>
        </a:p>
      </dgm:t>
    </dgm:pt>
    <dgm:pt modelId="{9A8C72FF-6347-4952-AA6D-E9D73BF670DB}" type="parTrans" cxnId="{5A87ED19-15C2-45A0-B75C-6DA3C61C3642}">
      <dgm:prSet/>
      <dgm:spPr/>
      <dgm:t>
        <a:bodyPr/>
        <a:lstStyle/>
        <a:p>
          <a:endParaRPr lang="en-US" sz="1600" b="1"/>
        </a:p>
      </dgm:t>
    </dgm:pt>
    <dgm:pt modelId="{FE9E0C7A-D219-4657-88C8-1061D61E5020}" type="sibTrans" cxnId="{5A87ED19-15C2-45A0-B75C-6DA3C61C3642}">
      <dgm:prSet/>
      <dgm:spPr/>
      <dgm:t>
        <a:bodyPr/>
        <a:lstStyle/>
        <a:p>
          <a:endParaRPr lang="en-US" sz="1600" b="1"/>
        </a:p>
      </dgm:t>
    </dgm:pt>
    <dgm:pt modelId="{B9999940-B96A-4C04-9F2F-FB7CABCBFB4E}">
      <dgm:prSet custT="1"/>
      <dgm:spPr/>
      <dgm:t>
        <a:bodyPr/>
        <a:lstStyle/>
        <a:p>
          <a:pPr rtl="0"/>
          <a:r>
            <a:rPr lang="en-US" sz="2000" b="1" dirty="0"/>
            <a:t>2 weeks child development (with child life)</a:t>
          </a:r>
        </a:p>
      </dgm:t>
    </dgm:pt>
    <dgm:pt modelId="{CB374F66-D29C-4F6F-ACF9-50D26BA18ED0}" type="parTrans" cxnId="{DF7F31A7-C0B4-4F29-8E9D-8D1E741EE5EE}">
      <dgm:prSet/>
      <dgm:spPr/>
      <dgm:t>
        <a:bodyPr/>
        <a:lstStyle/>
        <a:p>
          <a:endParaRPr lang="en-US" sz="1600" b="1"/>
        </a:p>
      </dgm:t>
    </dgm:pt>
    <dgm:pt modelId="{93F5730B-0EBF-4555-8250-98BB120F1E19}" type="sibTrans" cxnId="{DF7F31A7-C0B4-4F29-8E9D-8D1E741EE5EE}">
      <dgm:prSet/>
      <dgm:spPr/>
      <dgm:t>
        <a:bodyPr/>
        <a:lstStyle/>
        <a:p>
          <a:endParaRPr lang="en-US" sz="1600" b="1"/>
        </a:p>
      </dgm:t>
    </dgm:pt>
    <dgm:pt modelId="{C01E39B0-D7AA-411D-8498-7B28EDE861C9}">
      <dgm:prSet custT="1"/>
      <dgm:spPr/>
      <dgm:t>
        <a:bodyPr/>
        <a:lstStyle/>
        <a:p>
          <a:pPr rtl="0"/>
          <a:r>
            <a:rPr lang="en-US" sz="2000" b="1" dirty="0"/>
            <a:t>1 month PICU (Main or West Campus)</a:t>
          </a:r>
        </a:p>
      </dgm:t>
    </dgm:pt>
    <dgm:pt modelId="{0EDB573A-A84E-49DC-8028-56795782B298}" type="parTrans" cxnId="{EB1922D9-5C91-49BA-A07D-88DD858D1FE8}">
      <dgm:prSet/>
      <dgm:spPr/>
      <dgm:t>
        <a:bodyPr/>
        <a:lstStyle/>
        <a:p>
          <a:endParaRPr lang="en-US" sz="1600" b="1"/>
        </a:p>
      </dgm:t>
    </dgm:pt>
    <dgm:pt modelId="{4144B838-41DF-4305-8771-27982953E8DF}" type="sibTrans" cxnId="{EB1922D9-5C91-49BA-A07D-88DD858D1FE8}">
      <dgm:prSet/>
      <dgm:spPr/>
      <dgm:t>
        <a:bodyPr/>
        <a:lstStyle/>
        <a:p>
          <a:endParaRPr lang="en-US" sz="1600" b="1"/>
        </a:p>
      </dgm:t>
    </dgm:pt>
    <dgm:pt modelId="{FFB491EF-264D-4539-81F3-96939C9F6938}">
      <dgm:prSet custT="1"/>
      <dgm:spPr/>
      <dgm:t>
        <a:bodyPr/>
        <a:lstStyle/>
        <a:p>
          <a:pPr rtl="0"/>
          <a:r>
            <a:rPr lang="en-US" sz="2000" b="1" dirty="0"/>
            <a:t>1 month NICU</a:t>
          </a:r>
        </a:p>
      </dgm:t>
    </dgm:pt>
    <dgm:pt modelId="{84BD7D8B-B359-4F0F-A99C-053D8BD5E553}" type="parTrans" cxnId="{C42BA784-0470-478D-B08E-5A81DBBCB79D}">
      <dgm:prSet/>
      <dgm:spPr/>
      <dgm:t>
        <a:bodyPr/>
        <a:lstStyle/>
        <a:p>
          <a:endParaRPr lang="en-US" sz="1600" b="1"/>
        </a:p>
      </dgm:t>
    </dgm:pt>
    <dgm:pt modelId="{2749613C-9FDC-42B3-A1B3-6DC0BA42B2C3}" type="sibTrans" cxnId="{C42BA784-0470-478D-B08E-5A81DBBCB79D}">
      <dgm:prSet/>
      <dgm:spPr/>
      <dgm:t>
        <a:bodyPr/>
        <a:lstStyle/>
        <a:p>
          <a:endParaRPr lang="en-US" sz="1600" b="1"/>
        </a:p>
      </dgm:t>
    </dgm:pt>
    <dgm:pt modelId="{0DB734E9-0576-4798-8E5E-EADB2E9FF2E9}">
      <dgm:prSet custT="1"/>
      <dgm:spPr/>
      <dgm:t>
        <a:bodyPr/>
        <a:lstStyle/>
        <a:p>
          <a:pPr rtl="0"/>
          <a:r>
            <a:rPr lang="en-US" sz="2000" b="1" dirty="0"/>
            <a:t>1 month pediatric cardiology</a:t>
          </a:r>
        </a:p>
      </dgm:t>
    </dgm:pt>
    <dgm:pt modelId="{93262E67-1966-43CC-B229-11C55F0C7367}" type="parTrans" cxnId="{46286136-3042-49C4-B5B4-8936D55D04A7}">
      <dgm:prSet/>
      <dgm:spPr/>
      <dgm:t>
        <a:bodyPr/>
        <a:lstStyle/>
        <a:p>
          <a:endParaRPr lang="en-US" sz="1600" b="1"/>
        </a:p>
      </dgm:t>
    </dgm:pt>
    <dgm:pt modelId="{DE28BB46-64A8-4E3A-8EF8-536400B918AF}" type="sibTrans" cxnId="{46286136-3042-49C4-B5B4-8936D55D04A7}">
      <dgm:prSet/>
      <dgm:spPr/>
      <dgm:t>
        <a:bodyPr/>
        <a:lstStyle/>
        <a:p>
          <a:endParaRPr lang="en-US" sz="1600" b="1"/>
        </a:p>
      </dgm:t>
    </dgm:pt>
    <dgm:pt modelId="{81D83B76-E14D-4DD1-A9C4-E99FB976FEAA}">
      <dgm:prSet custT="1"/>
      <dgm:spPr/>
      <dgm:t>
        <a:bodyPr/>
        <a:lstStyle/>
        <a:p>
          <a:pPr rtl="0"/>
          <a:r>
            <a:rPr lang="en-US" sz="1600" b="1" dirty="0"/>
            <a:t>*</a:t>
          </a:r>
          <a:r>
            <a:rPr lang="en-US" sz="1600" b="0" dirty="0"/>
            <a:t>Total ED Time at Texas Children’s Hospital Main and West Campus= 950 Hours (</a:t>
          </a:r>
          <a:r>
            <a:rPr lang="en-US" sz="1600" b="0" dirty="0" err="1"/>
            <a:t>approx</a:t>
          </a:r>
          <a:r>
            <a:rPr lang="en-US" sz="1600" b="0" dirty="0"/>
            <a:t> 32 clinical </a:t>
          </a:r>
          <a:r>
            <a:rPr lang="en-US" sz="1600" b="0" dirty="0" err="1"/>
            <a:t>hrs</a:t>
          </a:r>
          <a:r>
            <a:rPr lang="en-US" sz="1600" b="0" dirty="0"/>
            <a:t>/week on PEM rotations)</a:t>
          </a:r>
        </a:p>
      </dgm:t>
    </dgm:pt>
    <dgm:pt modelId="{3EB75E7E-7C78-4597-AE40-874DD9EB7DA8}" type="parTrans" cxnId="{9A98AA09-ABB1-4548-8196-F7095601C842}">
      <dgm:prSet/>
      <dgm:spPr/>
      <dgm:t>
        <a:bodyPr/>
        <a:lstStyle/>
        <a:p>
          <a:endParaRPr lang="en-US" sz="1600" b="1"/>
        </a:p>
      </dgm:t>
    </dgm:pt>
    <dgm:pt modelId="{CA482819-5221-4309-AE37-633A68061EC4}" type="sibTrans" cxnId="{9A98AA09-ABB1-4548-8196-F7095601C842}">
      <dgm:prSet/>
      <dgm:spPr/>
      <dgm:t>
        <a:bodyPr/>
        <a:lstStyle/>
        <a:p>
          <a:endParaRPr lang="en-US" sz="1600" b="1"/>
        </a:p>
      </dgm:t>
    </dgm:pt>
    <dgm:pt modelId="{34A74A19-B1E1-45CA-A4A7-26023BEE5D1F}" type="pres">
      <dgm:prSet presAssocID="{37C1F660-0254-41BE-855D-1F75883EE4CA}" presName="linear" presStyleCnt="0">
        <dgm:presLayoutVars>
          <dgm:animLvl val="lvl"/>
          <dgm:resizeHandles val="exact"/>
        </dgm:presLayoutVars>
      </dgm:prSet>
      <dgm:spPr/>
    </dgm:pt>
    <dgm:pt modelId="{D9AB82A0-FA24-4F83-B272-F89C940423BA}" type="pres">
      <dgm:prSet presAssocID="{46E84136-676F-406B-A8C7-1C68D7E9E779}" presName="parentText" presStyleLbl="node1" presStyleIdx="0" presStyleCnt="8">
        <dgm:presLayoutVars>
          <dgm:chMax val="0"/>
          <dgm:bulletEnabled val="1"/>
        </dgm:presLayoutVars>
      </dgm:prSet>
      <dgm:spPr/>
    </dgm:pt>
    <dgm:pt modelId="{BA79397A-3F93-4DB7-8025-4999F7D2D2DC}" type="pres">
      <dgm:prSet presAssocID="{B4BC64DD-1639-44E3-9806-365E6A739696}" presName="spacer" presStyleCnt="0"/>
      <dgm:spPr/>
    </dgm:pt>
    <dgm:pt modelId="{0177620C-5CDF-4D61-8A38-C7BEDE7FE8AD}" type="pres">
      <dgm:prSet presAssocID="{887AB10F-732D-4D71-9680-BDE013AEE1EC}" presName="parentText" presStyleLbl="node1" presStyleIdx="1" presStyleCnt="8">
        <dgm:presLayoutVars>
          <dgm:chMax val="0"/>
          <dgm:bulletEnabled val="1"/>
        </dgm:presLayoutVars>
      </dgm:prSet>
      <dgm:spPr/>
    </dgm:pt>
    <dgm:pt modelId="{E01CE59A-2296-4DAA-87C8-B4FB18A68D9D}" type="pres">
      <dgm:prSet presAssocID="{1F631014-09A1-4058-8C5D-0626CD5E438E}" presName="spacer" presStyleCnt="0"/>
      <dgm:spPr/>
    </dgm:pt>
    <dgm:pt modelId="{F757D63A-CDBE-4031-884C-58F9DB791CEC}" type="pres">
      <dgm:prSet presAssocID="{4B04142B-85CB-4C3D-9217-98DFDF8B63A6}" presName="parentText" presStyleLbl="node1" presStyleIdx="2" presStyleCnt="8">
        <dgm:presLayoutVars>
          <dgm:chMax val="0"/>
          <dgm:bulletEnabled val="1"/>
        </dgm:presLayoutVars>
      </dgm:prSet>
      <dgm:spPr/>
    </dgm:pt>
    <dgm:pt modelId="{84BB714F-B25B-432C-90E1-3AC3C8E77303}" type="pres">
      <dgm:prSet presAssocID="{FE9E0C7A-D219-4657-88C8-1061D61E5020}" presName="spacer" presStyleCnt="0"/>
      <dgm:spPr/>
    </dgm:pt>
    <dgm:pt modelId="{09078B73-1435-4DC7-88DF-C7B9CCBACD9D}" type="pres">
      <dgm:prSet presAssocID="{B9999940-B96A-4C04-9F2F-FB7CABCBFB4E}" presName="parentText" presStyleLbl="node1" presStyleIdx="3" presStyleCnt="8">
        <dgm:presLayoutVars>
          <dgm:chMax val="0"/>
          <dgm:bulletEnabled val="1"/>
        </dgm:presLayoutVars>
      </dgm:prSet>
      <dgm:spPr/>
    </dgm:pt>
    <dgm:pt modelId="{F873A1B4-F6C8-4E55-BF4C-B49706149B84}" type="pres">
      <dgm:prSet presAssocID="{93F5730B-0EBF-4555-8250-98BB120F1E19}" presName="spacer" presStyleCnt="0"/>
      <dgm:spPr/>
    </dgm:pt>
    <dgm:pt modelId="{E9B2F888-D4E9-4D93-9203-A26D3AF6AE90}" type="pres">
      <dgm:prSet presAssocID="{C01E39B0-D7AA-411D-8498-7B28EDE861C9}" presName="parentText" presStyleLbl="node1" presStyleIdx="4" presStyleCnt="8">
        <dgm:presLayoutVars>
          <dgm:chMax val="0"/>
          <dgm:bulletEnabled val="1"/>
        </dgm:presLayoutVars>
      </dgm:prSet>
      <dgm:spPr/>
    </dgm:pt>
    <dgm:pt modelId="{B6A6234C-8BDB-433A-A71D-09BA41B64578}" type="pres">
      <dgm:prSet presAssocID="{4144B838-41DF-4305-8771-27982953E8DF}" presName="spacer" presStyleCnt="0"/>
      <dgm:spPr/>
    </dgm:pt>
    <dgm:pt modelId="{B1BDBA8E-053D-4EA0-9E49-74B3487B239A}" type="pres">
      <dgm:prSet presAssocID="{FFB491EF-264D-4539-81F3-96939C9F6938}" presName="parentText" presStyleLbl="node1" presStyleIdx="5" presStyleCnt="8">
        <dgm:presLayoutVars>
          <dgm:chMax val="0"/>
          <dgm:bulletEnabled val="1"/>
        </dgm:presLayoutVars>
      </dgm:prSet>
      <dgm:spPr/>
    </dgm:pt>
    <dgm:pt modelId="{53575ACD-5F31-4459-B0CA-737258A25B9A}" type="pres">
      <dgm:prSet presAssocID="{2749613C-9FDC-42B3-A1B3-6DC0BA42B2C3}" presName="spacer" presStyleCnt="0"/>
      <dgm:spPr/>
    </dgm:pt>
    <dgm:pt modelId="{4FE03ADF-B8DD-409F-ADE8-0B17B2F93C8C}" type="pres">
      <dgm:prSet presAssocID="{0DB734E9-0576-4798-8E5E-EADB2E9FF2E9}" presName="parentText" presStyleLbl="node1" presStyleIdx="6" presStyleCnt="8">
        <dgm:presLayoutVars>
          <dgm:chMax val="0"/>
          <dgm:bulletEnabled val="1"/>
        </dgm:presLayoutVars>
      </dgm:prSet>
      <dgm:spPr/>
    </dgm:pt>
    <dgm:pt modelId="{C290C8C6-163E-476B-9B60-682ACDEB1DA8}" type="pres">
      <dgm:prSet presAssocID="{DE28BB46-64A8-4E3A-8EF8-536400B918AF}" presName="spacer" presStyleCnt="0"/>
      <dgm:spPr/>
    </dgm:pt>
    <dgm:pt modelId="{6282A645-83E8-4264-A1A0-14F861428ECD}" type="pres">
      <dgm:prSet presAssocID="{81D83B76-E14D-4DD1-A9C4-E99FB976FEAA}" presName="parentText" presStyleLbl="node1" presStyleIdx="7" presStyleCnt="8">
        <dgm:presLayoutVars>
          <dgm:chMax val="0"/>
          <dgm:bulletEnabled val="1"/>
        </dgm:presLayoutVars>
      </dgm:prSet>
      <dgm:spPr/>
    </dgm:pt>
  </dgm:ptLst>
  <dgm:cxnLst>
    <dgm:cxn modelId="{9A98AA09-ABB1-4548-8196-F7095601C842}" srcId="{37C1F660-0254-41BE-855D-1F75883EE4CA}" destId="{81D83B76-E14D-4DD1-A9C4-E99FB976FEAA}" srcOrd="7" destOrd="0" parTransId="{3EB75E7E-7C78-4597-AE40-874DD9EB7DA8}" sibTransId="{CA482819-5221-4309-AE37-633A68061EC4}"/>
    <dgm:cxn modelId="{5A87ED19-15C2-45A0-B75C-6DA3C61C3642}" srcId="{37C1F660-0254-41BE-855D-1F75883EE4CA}" destId="{4B04142B-85CB-4C3D-9217-98DFDF8B63A6}" srcOrd="2" destOrd="0" parTransId="{9A8C72FF-6347-4952-AA6D-E9D73BF670DB}" sibTransId="{FE9E0C7A-D219-4657-88C8-1061D61E5020}"/>
    <dgm:cxn modelId="{D7F1152A-45B3-48A2-9323-6E123A5E9AD8}" type="presOf" srcId="{B9999940-B96A-4C04-9F2F-FB7CABCBFB4E}" destId="{09078B73-1435-4DC7-88DF-C7B9CCBACD9D}" srcOrd="0" destOrd="0" presId="urn:microsoft.com/office/officeart/2005/8/layout/vList2"/>
    <dgm:cxn modelId="{46286136-3042-49C4-B5B4-8936D55D04A7}" srcId="{37C1F660-0254-41BE-855D-1F75883EE4CA}" destId="{0DB734E9-0576-4798-8E5E-EADB2E9FF2E9}" srcOrd="6" destOrd="0" parTransId="{93262E67-1966-43CC-B229-11C55F0C7367}" sibTransId="{DE28BB46-64A8-4E3A-8EF8-536400B918AF}"/>
    <dgm:cxn modelId="{E62DB65D-F42E-44AC-A08E-836168CD2A47}" srcId="{37C1F660-0254-41BE-855D-1F75883EE4CA}" destId="{887AB10F-732D-4D71-9680-BDE013AEE1EC}" srcOrd="1" destOrd="0" parTransId="{26AC8985-9C11-4B9A-9124-FE608BE28C60}" sibTransId="{1F631014-09A1-4058-8C5D-0626CD5E438E}"/>
    <dgm:cxn modelId="{EC513076-064C-4644-AF42-BC469D9F1A9F}" type="presOf" srcId="{4B04142B-85CB-4C3D-9217-98DFDF8B63A6}" destId="{F757D63A-CDBE-4031-884C-58F9DB791CEC}" srcOrd="0" destOrd="0" presId="urn:microsoft.com/office/officeart/2005/8/layout/vList2"/>
    <dgm:cxn modelId="{C42BA784-0470-478D-B08E-5A81DBBCB79D}" srcId="{37C1F660-0254-41BE-855D-1F75883EE4CA}" destId="{FFB491EF-264D-4539-81F3-96939C9F6938}" srcOrd="5" destOrd="0" parTransId="{84BD7D8B-B359-4F0F-A99C-053D8BD5E553}" sibTransId="{2749613C-9FDC-42B3-A1B3-6DC0BA42B2C3}"/>
    <dgm:cxn modelId="{DF7F31A7-C0B4-4F29-8E9D-8D1E741EE5EE}" srcId="{37C1F660-0254-41BE-855D-1F75883EE4CA}" destId="{B9999940-B96A-4C04-9F2F-FB7CABCBFB4E}" srcOrd="3" destOrd="0" parTransId="{CB374F66-D29C-4F6F-ACF9-50D26BA18ED0}" sibTransId="{93F5730B-0EBF-4555-8250-98BB120F1E19}"/>
    <dgm:cxn modelId="{78DE1BA8-D80B-4F4D-9530-40D4D7793092}" type="presOf" srcId="{81D83B76-E14D-4DD1-A9C4-E99FB976FEAA}" destId="{6282A645-83E8-4264-A1A0-14F861428ECD}" srcOrd="0" destOrd="0" presId="urn:microsoft.com/office/officeart/2005/8/layout/vList2"/>
    <dgm:cxn modelId="{3E8ED2AF-B59C-42EA-85A2-49AEDCB8DCAE}" type="presOf" srcId="{37C1F660-0254-41BE-855D-1F75883EE4CA}" destId="{34A74A19-B1E1-45CA-A4A7-26023BEE5D1F}" srcOrd="0" destOrd="0" presId="urn:microsoft.com/office/officeart/2005/8/layout/vList2"/>
    <dgm:cxn modelId="{120481C3-7A45-4027-8411-B5A479EB7200}" type="presOf" srcId="{FFB491EF-264D-4539-81F3-96939C9F6938}" destId="{B1BDBA8E-053D-4EA0-9E49-74B3487B239A}" srcOrd="0" destOrd="0" presId="urn:microsoft.com/office/officeart/2005/8/layout/vList2"/>
    <dgm:cxn modelId="{A7C1EDCF-1A8B-4117-A7C6-597934D4B64A}" type="presOf" srcId="{C01E39B0-D7AA-411D-8498-7B28EDE861C9}" destId="{E9B2F888-D4E9-4D93-9203-A26D3AF6AE90}" srcOrd="0" destOrd="0" presId="urn:microsoft.com/office/officeart/2005/8/layout/vList2"/>
    <dgm:cxn modelId="{EB1922D9-5C91-49BA-A07D-88DD858D1FE8}" srcId="{37C1F660-0254-41BE-855D-1F75883EE4CA}" destId="{C01E39B0-D7AA-411D-8498-7B28EDE861C9}" srcOrd="4" destOrd="0" parTransId="{0EDB573A-A84E-49DC-8028-56795782B298}" sibTransId="{4144B838-41DF-4305-8771-27982953E8DF}"/>
    <dgm:cxn modelId="{C193AAE7-AD2D-49A3-A396-0E86B0BF189F}" type="presOf" srcId="{46E84136-676F-406B-A8C7-1C68D7E9E779}" destId="{D9AB82A0-FA24-4F83-B272-F89C940423BA}" srcOrd="0" destOrd="0" presId="urn:microsoft.com/office/officeart/2005/8/layout/vList2"/>
    <dgm:cxn modelId="{204D0AEB-3C1C-4B0A-82D9-A9514CA96D90}" type="presOf" srcId="{0DB734E9-0576-4798-8E5E-EADB2E9FF2E9}" destId="{4FE03ADF-B8DD-409F-ADE8-0B17B2F93C8C}" srcOrd="0" destOrd="0" presId="urn:microsoft.com/office/officeart/2005/8/layout/vList2"/>
    <dgm:cxn modelId="{9D810DEF-5716-49BB-8034-A5606DD6CFCF}" type="presOf" srcId="{887AB10F-732D-4D71-9680-BDE013AEE1EC}" destId="{0177620C-5CDF-4D61-8A38-C7BEDE7FE8AD}" srcOrd="0" destOrd="0" presId="urn:microsoft.com/office/officeart/2005/8/layout/vList2"/>
    <dgm:cxn modelId="{B41342F2-F81F-444B-8A96-5BA6930DBC2F}" srcId="{37C1F660-0254-41BE-855D-1F75883EE4CA}" destId="{46E84136-676F-406B-A8C7-1C68D7E9E779}" srcOrd="0" destOrd="0" parTransId="{2B55C666-E748-4DD2-A6A7-88B8E8F1A56C}" sibTransId="{B4BC64DD-1639-44E3-9806-365E6A739696}"/>
    <dgm:cxn modelId="{BCFC58DC-BBF7-4310-A179-8F7DF924B91C}" type="presParOf" srcId="{34A74A19-B1E1-45CA-A4A7-26023BEE5D1F}" destId="{D9AB82A0-FA24-4F83-B272-F89C940423BA}" srcOrd="0" destOrd="0" presId="urn:microsoft.com/office/officeart/2005/8/layout/vList2"/>
    <dgm:cxn modelId="{F7CE27E5-960C-4B80-B334-134667CCD1A1}" type="presParOf" srcId="{34A74A19-B1E1-45CA-A4A7-26023BEE5D1F}" destId="{BA79397A-3F93-4DB7-8025-4999F7D2D2DC}" srcOrd="1" destOrd="0" presId="urn:microsoft.com/office/officeart/2005/8/layout/vList2"/>
    <dgm:cxn modelId="{91CFC11F-74D0-4494-9A1D-EE9896AE9F60}" type="presParOf" srcId="{34A74A19-B1E1-45CA-A4A7-26023BEE5D1F}" destId="{0177620C-5CDF-4D61-8A38-C7BEDE7FE8AD}" srcOrd="2" destOrd="0" presId="urn:microsoft.com/office/officeart/2005/8/layout/vList2"/>
    <dgm:cxn modelId="{8E92D94F-DDCD-48F5-8A5E-D52790F3B091}" type="presParOf" srcId="{34A74A19-B1E1-45CA-A4A7-26023BEE5D1F}" destId="{E01CE59A-2296-4DAA-87C8-B4FB18A68D9D}" srcOrd="3" destOrd="0" presId="urn:microsoft.com/office/officeart/2005/8/layout/vList2"/>
    <dgm:cxn modelId="{F047756C-E259-489D-889E-4E0E1C65C059}" type="presParOf" srcId="{34A74A19-B1E1-45CA-A4A7-26023BEE5D1F}" destId="{F757D63A-CDBE-4031-884C-58F9DB791CEC}" srcOrd="4" destOrd="0" presId="urn:microsoft.com/office/officeart/2005/8/layout/vList2"/>
    <dgm:cxn modelId="{80087B06-7B36-4B3B-8226-C4D3B6A30E82}" type="presParOf" srcId="{34A74A19-B1E1-45CA-A4A7-26023BEE5D1F}" destId="{84BB714F-B25B-432C-90E1-3AC3C8E77303}" srcOrd="5" destOrd="0" presId="urn:microsoft.com/office/officeart/2005/8/layout/vList2"/>
    <dgm:cxn modelId="{061237A5-86A2-4060-8361-D380695AFFA9}" type="presParOf" srcId="{34A74A19-B1E1-45CA-A4A7-26023BEE5D1F}" destId="{09078B73-1435-4DC7-88DF-C7B9CCBACD9D}" srcOrd="6" destOrd="0" presId="urn:microsoft.com/office/officeart/2005/8/layout/vList2"/>
    <dgm:cxn modelId="{FBD7C5CE-3019-409B-9451-298ED49DDDD8}" type="presParOf" srcId="{34A74A19-B1E1-45CA-A4A7-26023BEE5D1F}" destId="{F873A1B4-F6C8-4E55-BF4C-B49706149B84}" srcOrd="7" destOrd="0" presId="urn:microsoft.com/office/officeart/2005/8/layout/vList2"/>
    <dgm:cxn modelId="{CA1E65E9-AFD3-4865-8166-25665854C2AA}" type="presParOf" srcId="{34A74A19-B1E1-45CA-A4A7-26023BEE5D1F}" destId="{E9B2F888-D4E9-4D93-9203-A26D3AF6AE90}" srcOrd="8" destOrd="0" presId="urn:microsoft.com/office/officeart/2005/8/layout/vList2"/>
    <dgm:cxn modelId="{EF728A82-C282-45DA-B8BC-F267EE131C87}" type="presParOf" srcId="{34A74A19-B1E1-45CA-A4A7-26023BEE5D1F}" destId="{B6A6234C-8BDB-433A-A71D-09BA41B64578}" srcOrd="9" destOrd="0" presId="urn:microsoft.com/office/officeart/2005/8/layout/vList2"/>
    <dgm:cxn modelId="{79A60932-8F12-4751-BF86-04FA3AD0D85F}" type="presParOf" srcId="{34A74A19-B1E1-45CA-A4A7-26023BEE5D1F}" destId="{B1BDBA8E-053D-4EA0-9E49-74B3487B239A}" srcOrd="10" destOrd="0" presId="urn:microsoft.com/office/officeart/2005/8/layout/vList2"/>
    <dgm:cxn modelId="{CFA7DD59-9C3E-4DBA-BF11-97D20FD2BFF3}" type="presParOf" srcId="{34A74A19-B1E1-45CA-A4A7-26023BEE5D1F}" destId="{53575ACD-5F31-4459-B0CA-737258A25B9A}" srcOrd="11" destOrd="0" presId="urn:microsoft.com/office/officeart/2005/8/layout/vList2"/>
    <dgm:cxn modelId="{45A637C4-902F-407A-B05C-4843F09A6D42}" type="presParOf" srcId="{34A74A19-B1E1-45CA-A4A7-26023BEE5D1F}" destId="{4FE03ADF-B8DD-409F-ADE8-0B17B2F93C8C}" srcOrd="12" destOrd="0" presId="urn:microsoft.com/office/officeart/2005/8/layout/vList2"/>
    <dgm:cxn modelId="{5E93226A-02D2-437B-89B6-E22E43CEA6D3}" type="presParOf" srcId="{34A74A19-B1E1-45CA-A4A7-26023BEE5D1F}" destId="{C290C8C6-163E-476B-9B60-682ACDEB1DA8}" srcOrd="13" destOrd="0" presId="urn:microsoft.com/office/officeart/2005/8/layout/vList2"/>
    <dgm:cxn modelId="{EAE655B3-7237-4704-A4CB-07C992163FEF}" type="presParOf" srcId="{34A74A19-B1E1-45CA-A4A7-26023BEE5D1F}" destId="{6282A645-83E8-4264-A1A0-14F861428ECD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104A13D0-EF00-4134-AE9D-55CB341C4EC0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40357A03-4386-4A01-B090-4E4095F1A1EB}">
      <dgm:prSet custT="1"/>
      <dgm:spPr/>
      <dgm:t>
        <a:bodyPr/>
        <a:lstStyle/>
        <a:p>
          <a:pPr rtl="0"/>
          <a:r>
            <a:rPr lang="en-US" sz="2400" b="1" dirty="0"/>
            <a:t>9 months PEM*</a:t>
          </a:r>
        </a:p>
      </dgm:t>
    </dgm:pt>
    <dgm:pt modelId="{4FD0154C-A487-4BA8-BAAB-6EFA9BD75799}" type="parTrans" cxnId="{8BC5B119-6CC1-462D-BEBE-10111ACD5609}">
      <dgm:prSet/>
      <dgm:spPr/>
      <dgm:t>
        <a:bodyPr/>
        <a:lstStyle/>
        <a:p>
          <a:endParaRPr lang="en-US" sz="1600" b="1"/>
        </a:p>
      </dgm:t>
    </dgm:pt>
    <dgm:pt modelId="{F4EB8C17-FC3B-4880-B447-96A1E8BC04D8}" type="sibTrans" cxnId="{8BC5B119-6CC1-462D-BEBE-10111ACD5609}">
      <dgm:prSet/>
      <dgm:spPr/>
      <dgm:t>
        <a:bodyPr/>
        <a:lstStyle/>
        <a:p>
          <a:endParaRPr lang="en-US" sz="1600" b="1"/>
        </a:p>
      </dgm:t>
    </dgm:pt>
    <dgm:pt modelId="{A9A8663F-3E26-43EE-B531-C7383A00F9CB}">
      <dgm:prSet custT="1"/>
      <dgm:spPr/>
      <dgm:t>
        <a:bodyPr/>
        <a:lstStyle/>
        <a:p>
          <a:pPr rtl="0"/>
          <a:r>
            <a:rPr lang="en-US" sz="2400" b="1" dirty="0"/>
            <a:t>2 weeks orthopedics</a:t>
          </a:r>
        </a:p>
      </dgm:t>
    </dgm:pt>
    <dgm:pt modelId="{8B07BDBF-998F-4865-A29B-81CA55C82955}" type="parTrans" cxnId="{F3FA362A-1DA3-4BA3-8A6B-8A32702D943A}">
      <dgm:prSet/>
      <dgm:spPr/>
      <dgm:t>
        <a:bodyPr/>
        <a:lstStyle/>
        <a:p>
          <a:endParaRPr lang="en-US" sz="1600" b="1"/>
        </a:p>
      </dgm:t>
    </dgm:pt>
    <dgm:pt modelId="{1A28EEEC-C5CC-4748-82E0-A0FF9A839D59}" type="sibTrans" cxnId="{F3FA362A-1DA3-4BA3-8A6B-8A32702D943A}">
      <dgm:prSet/>
      <dgm:spPr/>
      <dgm:t>
        <a:bodyPr/>
        <a:lstStyle/>
        <a:p>
          <a:endParaRPr lang="en-US" sz="1600" b="1"/>
        </a:p>
      </dgm:t>
    </dgm:pt>
    <dgm:pt modelId="{21C7CBAB-6F7F-4370-8E22-7098CE6C8353}">
      <dgm:prSet custT="1"/>
      <dgm:spPr/>
      <dgm:t>
        <a:bodyPr/>
        <a:lstStyle/>
        <a:p>
          <a:pPr rtl="0"/>
          <a:r>
            <a:rPr lang="en-US" sz="2400" b="1" dirty="0"/>
            <a:t>2 weeks toxicology</a:t>
          </a:r>
        </a:p>
      </dgm:t>
    </dgm:pt>
    <dgm:pt modelId="{5D961FA1-3130-4E48-AA80-C1976D976A21}" type="parTrans" cxnId="{C67BAC5D-313E-49B0-B927-26478F9002BA}">
      <dgm:prSet/>
      <dgm:spPr/>
      <dgm:t>
        <a:bodyPr/>
        <a:lstStyle/>
        <a:p>
          <a:endParaRPr lang="en-US" sz="1600" b="1"/>
        </a:p>
      </dgm:t>
    </dgm:pt>
    <dgm:pt modelId="{80433E37-D954-427B-AA7E-F6D4CC18B353}" type="sibTrans" cxnId="{C67BAC5D-313E-49B0-B927-26478F9002BA}">
      <dgm:prSet/>
      <dgm:spPr/>
      <dgm:t>
        <a:bodyPr/>
        <a:lstStyle/>
        <a:p>
          <a:endParaRPr lang="en-US" sz="1600" b="1"/>
        </a:p>
      </dgm:t>
    </dgm:pt>
    <dgm:pt modelId="{8DFF0023-5C32-4417-9B6D-FC641A0346EC}">
      <dgm:prSet custT="1"/>
      <dgm:spPr/>
      <dgm:t>
        <a:bodyPr/>
        <a:lstStyle/>
        <a:p>
          <a:pPr rtl="0"/>
          <a:r>
            <a:rPr lang="en-US" sz="2400" b="1" dirty="0"/>
            <a:t>1 month trauma– </a:t>
          </a:r>
          <a:r>
            <a:rPr lang="en-US" sz="2400" b="0" dirty="0"/>
            <a:t>Memorial Hermann</a:t>
          </a:r>
        </a:p>
      </dgm:t>
    </dgm:pt>
    <dgm:pt modelId="{B10BC348-93E6-48B3-9A36-2626828A2E6C}" type="parTrans" cxnId="{BAE9704A-D42E-498C-A186-AC807EA93A8D}">
      <dgm:prSet/>
      <dgm:spPr/>
      <dgm:t>
        <a:bodyPr/>
        <a:lstStyle/>
        <a:p>
          <a:endParaRPr lang="en-US" sz="1600" b="1"/>
        </a:p>
      </dgm:t>
    </dgm:pt>
    <dgm:pt modelId="{AC6EF7EA-08E7-4F70-8E8F-6290020AA61D}" type="sibTrans" cxnId="{BAE9704A-D42E-498C-A186-AC807EA93A8D}">
      <dgm:prSet/>
      <dgm:spPr/>
      <dgm:t>
        <a:bodyPr/>
        <a:lstStyle/>
        <a:p>
          <a:endParaRPr lang="en-US" sz="1600" b="1"/>
        </a:p>
      </dgm:t>
    </dgm:pt>
    <dgm:pt modelId="{9538494F-5BC4-42B9-8AA7-8F101F297013}">
      <dgm:prSet custT="1"/>
      <dgm:spPr/>
      <dgm:t>
        <a:bodyPr/>
        <a:lstStyle/>
        <a:p>
          <a:pPr rtl="0"/>
          <a:r>
            <a:rPr lang="en-US" sz="1600" b="1" dirty="0"/>
            <a:t>*</a:t>
          </a:r>
          <a:r>
            <a:rPr lang="en-US" sz="1600" b="0" dirty="0"/>
            <a:t>Total ED Time at Texas Children’s Hospital Main and West Campus= 1150-1200 Hours (</a:t>
          </a:r>
          <a:r>
            <a:rPr lang="en-US" sz="1600" b="0" dirty="0" err="1"/>
            <a:t>approx</a:t>
          </a:r>
          <a:r>
            <a:rPr lang="en-US" sz="1600" b="0" dirty="0"/>
            <a:t> 32 clinical </a:t>
          </a:r>
          <a:r>
            <a:rPr lang="en-US" sz="1600" b="0" dirty="0" err="1"/>
            <a:t>hrs</a:t>
          </a:r>
          <a:r>
            <a:rPr lang="en-US" sz="1600" b="0" dirty="0"/>
            <a:t>/week on PEM rotations) </a:t>
          </a:r>
        </a:p>
      </dgm:t>
    </dgm:pt>
    <dgm:pt modelId="{6521FE1F-7B07-48FA-9E82-11196BA56480}" type="parTrans" cxnId="{28754678-88A3-4B90-B23C-D73D3AF2170F}">
      <dgm:prSet/>
      <dgm:spPr/>
      <dgm:t>
        <a:bodyPr/>
        <a:lstStyle/>
        <a:p>
          <a:endParaRPr lang="en-US" sz="1600" b="1"/>
        </a:p>
      </dgm:t>
    </dgm:pt>
    <dgm:pt modelId="{BD8D4F61-1D29-4438-B8AF-1750D2865D97}" type="sibTrans" cxnId="{28754678-88A3-4B90-B23C-D73D3AF2170F}">
      <dgm:prSet/>
      <dgm:spPr/>
      <dgm:t>
        <a:bodyPr/>
        <a:lstStyle/>
        <a:p>
          <a:endParaRPr lang="en-US" sz="1600" b="1"/>
        </a:p>
      </dgm:t>
    </dgm:pt>
    <dgm:pt modelId="{3EF953B4-93B1-4328-9392-0D617A3CDC6A}">
      <dgm:prSet custT="1"/>
      <dgm:spPr/>
      <dgm:t>
        <a:bodyPr/>
        <a:lstStyle/>
        <a:p>
          <a:pPr rtl="0"/>
          <a:r>
            <a:rPr lang="en-US" sz="2400" b="1" dirty="0"/>
            <a:t>2 weeks child protection</a:t>
          </a:r>
        </a:p>
      </dgm:t>
    </dgm:pt>
    <dgm:pt modelId="{54097B13-AF58-44D5-9078-C0433C4C5BAA}" type="parTrans" cxnId="{0540041C-ABB6-487E-B461-5D03467FF489}">
      <dgm:prSet/>
      <dgm:spPr/>
      <dgm:t>
        <a:bodyPr/>
        <a:lstStyle/>
        <a:p>
          <a:endParaRPr lang="en-US"/>
        </a:p>
      </dgm:t>
    </dgm:pt>
    <dgm:pt modelId="{0A61911E-A276-4A98-88CF-D09F5DEC6707}" type="sibTrans" cxnId="{0540041C-ABB6-487E-B461-5D03467FF489}">
      <dgm:prSet/>
      <dgm:spPr/>
      <dgm:t>
        <a:bodyPr/>
        <a:lstStyle/>
        <a:p>
          <a:endParaRPr lang="en-US"/>
        </a:p>
      </dgm:t>
    </dgm:pt>
    <dgm:pt modelId="{E206B196-C79B-4847-97EF-3E55A852B1D6}" type="pres">
      <dgm:prSet presAssocID="{104A13D0-EF00-4134-AE9D-55CB341C4EC0}" presName="linear" presStyleCnt="0">
        <dgm:presLayoutVars>
          <dgm:animLvl val="lvl"/>
          <dgm:resizeHandles val="exact"/>
        </dgm:presLayoutVars>
      </dgm:prSet>
      <dgm:spPr/>
    </dgm:pt>
    <dgm:pt modelId="{04067C6A-7A3C-4C8A-929A-6B7A85727A7A}" type="pres">
      <dgm:prSet presAssocID="{40357A03-4386-4A01-B090-4E4095F1A1EB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B743C2D9-4E1E-4892-A7A2-3DB5D12786CC}" type="pres">
      <dgm:prSet presAssocID="{F4EB8C17-FC3B-4880-B447-96A1E8BC04D8}" presName="spacer" presStyleCnt="0"/>
      <dgm:spPr/>
    </dgm:pt>
    <dgm:pt modelId="{2EA1479B-EF16-4BD9-8374-9B3AC65F70B3}" type="pres">
      <dgm:prSet presAssocID="{A9A8663F-3E26-43EE-B531-C7383A00F9CB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351D081B-3CEC-4C5E-AFA6-CE295FB3F40E}" type="pres">
      <dgm:prSet presAssocID="{1A28EEEC-C5CC-4748-82E0-A0FF9A839D59}" presName="spacer" presStyleCnt="0"/>
      <dgm:spPr/>
    </dgm:pt>
    <dgm:pt modelId="{2FA8DC1D-7661-4D27-A4DB-ADC3C2C62047}" type="pres">
      <dgm:prSet presAssocID="{21C7CBAB-6F7F-4370-8E22-7098CE6C8353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1F9818C0-F3EB-4190-8310-98943D2C7206}" type="pres">
      <dgm:prSet presAssocID="{80433E37-D954-427B-AA7E-F6D4CC18B353}" presName="spacer" presStyleCnt="0"/>
      <dgm:spPr/>
    </dgm:pt>
    <dgm:pt modelId="{49A4D619-D0B2-4420-A40E-3ADCE7CA5512}" type="pres">
      <dgm:prSet presAssocID="{3EF953B4-93B1-4328-9392-0D617A3CDC6A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075DC896-11B6-4B8F-A3E5-F8239BB1DC54}" type="pres">
      <dgm:prSet presAssocID="{0A61911E-A276-4A98-88CF-D09F5DEC6707}" presName="spacer" presStyleCnt="0"/>
      <dgm:spPr/>
    </dgm:pt>
    <dgm:pt modelId="{353EB74B-AA9D-4EBB-B37F-6610D0014316}" type="pres">
      <dgm:prSet presAssocID="{8DFF0023-5C32-4417-9B6D-FC641A0346EC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0336670C-643E-41A2-8C64-E768F35E44B5}" type="pres">
      <dgm:prSet presAssocID="{AC6EF7EA-08E7-4F70-8E8F-6290020AA61D}" presName="spacer" presStyleCnt="0"/>
      <dgm:spPr/>
    </dgm:pt>
    <dgm:pt modelId="{55F50977-8AFC-4637-ACD3-D821F3C19860}" type="pres">
      <dgm:prSet presAssocID="{9538494F-5BC4-42B9-8AA7-8F101F297013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FB872F14-48B8-4770-80C4-E5D37417989B}" type="presOf" srcId="{8DFF0023-5C32-4417-9B6D-FC641A0346EC}" destId="{353EB74B-AA9D-4EBB-B37F-6610D0014316}" srcOrd="0" destOrd="0" presId="urn:microsoft.com/office/officeart/2005/8/layout/vList2"/>
    <dgm:cxn modelId="{8BC5B119-6CC1-462D-BEBE-10111ACD5609}" srcId="{104A13D0-EF00-4134-AE9D-55CB341C4EC0}" destId="{40357A03-4386-4A01-B090-4E4095F1A1EB}" srcOrd="0" destOrd="0" parTransId="{4FD0154C-A487-4BA8-BAAB-6EFA9BD75799}" sibTransId="{F4EB8C17-FC3B-4880-B447-96A1E8BC04D8}"/>
    <dgm:cxn modelId="{0540041C-ABB6-487E-B461-5D03467FF489}" srcId="{104A13D0-EF00-4134-AE9D-55CB341C4EC0}" destId="{3EF953B4-93B1-4328-9392-0D617A3CDC6A}" srcOrd="3" destOrd="0" parTransId="{54097B13-AF58-44D5-9078-C0433C4C5BAA}" sibTransId="{0A61911E-A276-4A98-88CF-D09F5DEC6707}"/>
    <dgm:cxn modelId="{F3FA362A-1DA3-4BA3-8A6B-8A32702D943A}" srcId="{104A13D0-EF00-4134-AE9D-55CB341C4EC0}" destId="{A9A8663F-3E26-43EE-B531-C7383A00F9CB}" srcOrd="1" destOrd="0" parTransId="{8B07BDBF-998F-4865-A29B-81CA55C82955}" sibTransId="{1A28EEEC-C5CC-4748-82E0-A0FF9A839D59}"/>
    <dgm:cxn modelId="{BAE9704A-D42E-498C-A186-AC807EA93A8D}" srcId="{104A13D0-EF00-4134-AE9D-55CB341C4EC0}" destId="{8DFF0023-5C32-4417-9B6D-FC641A0346EC}" srcOrd="4" destOrd="0" parTransId="{B10BC348-93E6-48B3-9A36-2626828A2E6C}" sibTransId="{AC6EF7EA-08E7-4F70-8E8F-6290020AA61D}"/>
    <dgm:cxn modelId="{C67BAC5D-313E-49B0-B927-26478F9002BA}" srcId="{104A13D0-EF00-4134-AE9D-55CB341C4EC0}" destId="{21C7CBAB-6F7F-4370-8E22-7098CE6C8353}" srcOrd="2" destOrd="0" parTransId="{5D961FA1-3130-4E48-AA80-C1976D976A21}" sibTransId="{80433E37-D954-427B-AA7E-F6D4CC18B353}"/>
    <dgm:cxn modelId="{CA936165-F797-4CE5-BA16-9D6D23F341DB}" type="presOf" srcId="{3EF953B4-93B1-4328-9392-0D617A3CDC6A}" destId="{49A4D619-D0B2-4420-A40E-3ADCE7CA5512}" srcOrd="0" destOrd="0" presId="urn:microsoft.com/office/officeart/2005/8/layout/vList2"/>
    <dgm:cxn modelId="{28754678-88A3-4B90-B23C-D73D3AF2170F}" srcId="{104A13D0-EF00-4134-AE9D-55CB341C4EC0}" destId="{9538494F-5BC4-42B9-8AA7-8F101F297013}" srcOrd="5" destOrd="0" parTransId="{6521FE1F-7B07-48FA-9E82-11196BA56480}" sibTransId="{BD8D4F61-1D29-4438-B8AF-1750D2865D97}"/>
    <dgm:cxn modelId="{D0301AB6-5460-4A20-B3FD-287552A4D87D}" type="presOf" srcId="{A9A8663F-3E26-43EE-B531-C7383A00F9CB}" destId="{2EA1479B-EF16-4BD9-8374-9B3AC65F70B3}" srcOrd="0" destOrd="0" presId="urn:microsoft.com/office/officeart/2005/8/layout/vList2"/>
    <dgm:cxn modelId="{3A36C0BD-097F-4A9D-9FD5-96F0E3957D5A}" type="presOf" srcId="{21C7CBAB-6F7F-4370-8E22-7098CE6C8353}" destId="{2FA8DC1D-7661-4D27-A4DB-ADC3C2C62047}" srcOrd="0" destOrd="0" presId="urn:microsoft.com/office/officeart/2005/8/layout/vList2"/>
    <dgm:cxn modelId="{425903C8-C6B7-486E-9DB7-44F8F1790638}" type="presOf" srcId="{104A13D0-EF00-4134-AE9D-55CB341C4EC0}" destId="{E206B196-C79B-4847-97EF-3E55A852B1D6}" srcOrd="0" destOrd="0" presId="urn:microsoft.com/office/officeart/2005/8/layout/vList2"/>
    <dgm:cxn modelId="{582A2ACE-BF17-4548-9888-1561D5B100AF}" type="presOf" srcId="{9538494F-5BC4-42B9-8AA7-8F101F297013}" destId="{55F50977-8AFC-4637-ACD3-D821F3C19860}" srcOrd="0" destOrd="0" presId="urn:microsoft.com/office/officeart/2005/8/layout/vList2"/>
    <dgm:cxn modelId="{2586FAE2-45C9-4276-AFBB-003E2A6ACCEB}" type="presOf" srcId="{40357A03-4386-4A01-B090-4E4095F1A1EB}" destId="{04067C6A-7A3C-4C8A-929A-6B7A85727A7A}" srcOrd="0" destOrd="0" presId="urn:microsoft.com/office/officeart/2005/8/layout/vList2"/>
    <dgm:cxn modelId="{C8FD60D7-83F0-4B8F-B16D-98D29790DA13}" type="presParOf" srcId="{E206B196-C79B-4847-97EF-3E55A852B1D6}" destId="{04067C6A-7A3C-4C8A-929A-6B7A85727A7A}" srcOrd="0" destOrd="0" presId="urn:microsoft.com/office/officeart/2005/8/layout/vList2"/>
    <dgm:cxn modelId="{BE005801-F39D-496B-B836-26BAB7418E2A}" type="presParOf" srcId="{E206B196-C79B-4847-97EF-3E55A852B1D6}" destId="{B743C2D9-4E1E-4892-A7A2-3DB5D12786CC}" srcOrd="1" destOrd="0" presId="urn:microsoft.com/office/officeart/2005/8/layout/vList2"/>
    <dgm:cxn modelId="{E29532E3-66CC-4D27-8F7B-D6ABB2631F7D}" type="presParOf" srcId="{E206B196-C79B-4847-97EF-3E55A852B1D6}" destId="{2EA1479B-EF16-4BD9-8374-9B3AC65F70B3}" srcOrd="2" destOrd="0" presId="urn:microsoft.com/office/officeart/2005/8/layout/vList2"/>
    <dgm:cxn modelId="{843935E8-315C-499F-9B22-3A8579344647}" type="presParOf" srcId="{E206B196-C79B-4847-97EF-3E55A852B1D6}" destId="{351D081B-3CEC-4C5E-AFA6-CE295FB3F40E}" srcOrd="3" destOrd="0" presId="urn:microsoft.com/office/officeart/2005/8/layout/vList2"/>
    <dgm:cxn modelId="{DF166FC2-43E8-4D27-AB8A-92D609BAEA62}" type="presParOf" srcId="{E206B196-C79B-4847-97EF-3E55A852B1D6}" destId="{2FA8DC1D-7661-4D27-A4DB-ADC3C2C62047}" srcOrd="4" destOrd="0" presId="urn:microsoft.com/office/officeart/2005/8/layout/vList2"/>
    <dgm:cxn modelId="{FFB5D688-987B-4913-B0ED-2C6BBF4CDBE0}" type="presParOf" srcId="{E206B196-C79B-4847-97EF-3E55A852B1D6}" destId="{1F9818C0-F3EB-4190-8310-98943D2C7206}" srcOrd="5" destOrd="0" presId="urn:microsoft.com/office/officeart/2005/8/layout/vList2"/>
    <dgm:cxn modelId="{5BD01FD0-287D-47EB-A1E3-D5873CC3BC89}" type="presParOf" srcId="{E206B196-C79B-4847-97EF-3E55A852B1D6}" destId="{49A4D619-D0B2-4420-A40E-3ADCE7CA5512}" srcOrd="6" destOrd="0" presId="urn:microsoft.com/office/officeart/2005/8/layout/vList2"/>
    <dgm:cxn modelId="{E7606B84-DA01-4CE2-8276-E0427F445A54}" type="presParOf" srcId="{E206B196-C79B-4847-97EF-3E55A852B1D6}" destId="{075DC896-11B6-4B8F-A3E5-F8239BB1DC54}" srcOrd="7" destOrd="0" presId="urn:microsoft.com/office/officeart/2005/8/layout/vList2"/>
    <dgm:cxn modelId="{F7CDAF59-45BC-493B-BF52-7F8418065568}" type="presParOf" srcId="{E206B196-C79B-4847-97EF-3E55A852B1D6}" destId="{353EB74B-AA9D-4EBB-B37F-6610D0014316}" srcOrd="8" destOrd="0" presId="urn:microsoft.com/office/officeart/2005/8/layout/vList2"/>
    <dgm:cxn modelId="{58984A44-AADB-406D-BAA8-AB115D06F9F0}" type="presParOf" srcId="{E206B196-C79B-4847-97EF-3E55A852B1D6}" destId="{0336670C-643E-41A2-8C64-E768F35E44B5}" srcOrd="9" destOrd="0" presId="urn:microsoft.com/office/officeart/2005/8/layout/vList2"/>
    <dgm:cxn modelId="{7E52D965-B483-4191-B448-FB82F9237AAB}" type="presParOf" srcId="{E206B196-C79B-4847-97EF-3E55A852B1D6}" destId="{55F50977-8AFC-4637-ACD3-D821F3C19860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D0FE4B48-10E7-40D9-8EF2-899EE9D6BBEF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439BDF0E-745B-4E3B-B91D-9A383510BF63}">
      <dgm:prSet custT="1"/>
      <dgm:spPr/>
      <dgm:t>
        <a:bodyPr/>
        <a:lstStyle/>
        <a:p>
          <a:pPr rtl="0"/>
          <a:r>
            <a:rPr lang="en-US" sz="2000" b="1" dirty="0"/>
            <a:t>9.5 months PEM*</a:t>
          </a:r>
        </a:p>
      </dgm:t>
    </dgm:pt>
    <dgm:pt modelId="{845DDFFE-7F7C-4961-B4B0-8C50142A578D}" type="parTrans" cxnId="{14435C68-DD60-4264-986A-2B87CAD7C21D}">
      <dgm:prSet/>
      <dgm:spPr/>
      <dgm:t>
        <a:bodyPr/>
        <a:lstStyle/>
        <a:p>
          <a:endParaRPr lang="en-US" sz="1800" b="1"/>
        </a:p>
      </dgm:t>
    </dgm:pt>
    <dgm:pt modelId="{7CA74353-A529-4A13-87F8-74879C8B6E8E}" type="sibTrans" cxnId="{14435C68-DD60-4264-986A-2B87CAD7C21D}">
      <dgm:prSet/>
      <dgm:spPr/>
      <dgm:t>
        <a:bodyPr/>
        <a:lstStyle/>
        <a:p>
          <a:endParaRPr lang="en-US" sz="1800" b="1"/>
        </a:p>
      </dgm:t>
    </dgm:pt>
    <dgm:pt modelId="{8DF2DA1F-E52C-47EE-8B53-73705B02F25A}">
      <dgm:prSet custT="1"/>
      <dgm:spPr/>
      <dgm:t>
        <a:bodyPr/>
        <a:lstStyle/>
        <a:p>
          <a:pPr rtl="0"/>
          <a:r>
            <a:rPr lang="en-US" sz="2000" b="1" dirty="0"/>
            <a:t>1 month pediatric infectious disease or neurology</a:t>
          </a:r>
        </a:p>
      </dgm:t>
    </dgm:pt>
    <dgm:pt modelId="{DC5AEBE2-F135-4440-845B-373E154C2C3C}" type="parTrans" cxnId="{E26AEE34-B791-4CE8-8546-5B5975C0CFF8}">
      <dgm:prSet/>
      <dgm:spPr/>
      <dgm:t>
        <a:bodyPr/>
        <a:lstStyle/>
        <a:p>
          <a:endParaRPr lang="en-US" sz="1800" b="1"/>
        </a:p>
      </dgm:t>
    </dgm:pt>
    <dgm:pt modelId="{CB938820-EB7B-4ACD-A98B-B72490123578}" type="sibTrans" cxnId="{E26AEE34-B791-4CE8-8546-5B5975C0CFF8}">
      <dgm:prSet/>
      <dgm:spPr/>
      <dgm:t>
        <a:bodyPr/>
        <a:lstStyle/>
        <a:p>
          <a:endParaRPr lang="en-US" sz="1800" b="1"/>
        </a:p>
      </dgm:t>
    </dgm:pt>
    <dgm:pt modelId="{63CEF234-9191-45CA-93D5-5C847D0113A6}">
      <dgm:prSet custT="1"/>
      <dgm:spPr/>
      <dgm:t>
        <a:bodyPr/>
        <a:lstStyle/>
        <a:p>
          <a:pPr rtl="0"/>
          <a:r>
            <a:rPr lang="en-US" sz="2000" b="1" dirty="0"/>
            <a:t>1 month elective</a:t>
          </a:r>
        </a:p>
      </dgm:t>
    </dgm:pt>
    <dgm:pt modelId="{BDEF4C94-839E-4D4E-A0D3-1C0322D32311}" type="parTrans" cxnId="{75799C69-1BBA-48F2-A862-264E6A41338D}">
      <dgm:prSet/>
      <dgm:spPr/>
      <dgm:t>
        <a:bodyPr/>
        <a:lstStyle/>
        <a:p>
          <a:endParaRPr lang="en-US" sz="1800" b="1"/>
        </a:p>
      </dgm:t>
    </dgm:pt>
    <dgm:pt modelId="{051970BA-6D55-4CEA-99EB-5FAC85CE96ED}" type="sibTrans" cxnId="{75799C69-1BBA-48F2-A862-264E6A41338D}">
      <dgm:prSet/>
      <dgm:spPr/>
      <dgm:t>
        <a:bodyPr/>
        <a:lstStyle/>
        <a:p>
          <a:endParaRPr lang="en-US" sz="1800" b="1"/>
        </a:p>
      </dgm:t>
    </dgm:pt>
    <dgm:pt modelId="{32459366-FF0C-4C63-BD73-BFD8F49C6A00}">
      <dgm:prSet custT="1"/>
      <dgm:spPr/>
      <dgm:t>
        <a:bodyPr/>
        <a:lstStyle/>
        <a:p>
          <a:pPr rtl="0"/>
          <a:r>
            <a:rPr lang="en-US" sz="2000" b="1"/>
            <a:t>2 weeks child protection</a:t>
          </a:r>
        </a:p>
      </dgm:t>
    </dgm:pt>
    <dgm:pt modelId="{557B5297-94F0-4EFE-BEFD-09CA64C7D397}" type="parTrans" cxnId="{7538CE7B-648F-4222-8E56-CF0C7C880A97}">
      <dgm:prSet/>
      <dgm:spPr/>
      <dgm:t>
        <a:bodyPr/>
        <a:lstStyle/>
        <a:p>
          <a:endParaRPr lang="en-US" sz="1800" b="1"/>
        </a:p>
      </dgm:t>
    </dgm:pt>
    <dgm:pt modelId="{384C959A-CAB2-4764-A68E-2708732302F9}" type="sibTrans" cxnId="{7538CE7B-648F-4222-8E56-CF0C7C880A97}">
      <dgm:prSet/>
      <dgm:spPr/>
      <dgm:t>
        <a:bodyPr/>
        <a:lstStyle/>
        <a:p>
          <a:endParaRPr lang="en-US" sz="1800" b="1"/>
        </a:p>
      </dgm:t>
    </dgm:pt>
    <dgm:pt modelId="{8D522C85-F19A-4815-BC7E-B60BA2A9C15E}">
      <dgm:prSet custT="1"/>
      <dgm:spPr/>
      <dgm:t>
        <a:bodyPr/>
        <a:lstStyle/>
        <a:p>
          <a:pPr rtl="0"/>
          <a:r>
            <a:rPr lang="en-US" sz="1800" b="1" dirty="0"/>
            <a:t>*</a:t>
          </a:r>
          <a:r>
            <a:rPr lang="en-US" sz="1800" b="0" dirty="0"/>
            <a:t>Total ED Time at Texas Children’s Hospital Main and West Campus= 1150 Hours (</a:t>
          </a:r>
          <a:r>
            <a:rPr lang="en-US" sz="1800" b="0" dirty="0" err="1"/>
            <a:t>approx</a:t>
          </a:r>
          <a:r>
            <a:rPr lang="en-US" sz="1800" b="0" dirty="0"/>
            <a:t> 32 clinical </a:t>
          </a:r>
          <a:r>
            <a:rPr lang="en-US" sz="1800" b="0" dirty="0" err="1"/>
            <a:t>hrs</a:t>
          </a:r>
          <a:r>
            <a:rPr lang="en-US" sz="1800" b="0" dirty="0"/>
            <a:t>/week on PEM rotations</a:t>
          </a:r>
          <a:r>
            <a:rPr lang="en-US" sz="1800" b="1" dirty="0"/>
            <a:t>)</a:t>
          </a:r>
        </a:p>
      </dgm:t>
    </dgm:pt>
    <dgm:pt modelId="{6473E367-3522-4668-99AC-01953F8707CD}" type="parTrans" cxnId="{49D82012-FAC6-473B-A598-E765D7045A6A}">
      <dgm:prSet/>
      <dgm:spPr/>
      <dgm:t>
        <a:bodyPr/>
        <a:lstStyle/>
        <a:p>
          <a:endParaRPr lang="en-US" sz="1800" b="1"/>
        </a:p>
      </dgm:t>
    </dgm:pt>
    <dgm:pt modelId="{AC8CCB8F-1EED-4250-ACFE-BE8E80583AA2}" type="sibTrans" cxnId="{49D82012-FAC6-473B-A598-E765D7045A6A}">
      <dgm:prSet/>
      <dgm:spPr/>
      <dgm:t>
        <a:bodyPr/>
        <a:lstStyle/>
        <a:p>
          <a:endParaRPr lang="en-US" sz="1800" b="1"/>
        </a:p>
      </dgm:t>
    </dgm:pt>
    <dgm:pt modelId="{F73C9558-FF16-4A22-8033-B889FEE4FAD8}" type="pres">
      <dgm:prSet presAssocID="{D0FE4B48-10E7-40D9-8EF2-899EE9D6BBEF}" presName="linear" presStyleCnt="0">
        <dgm:presLayoutVars>
          <dgm:animLvl val="lvl"/>
          <dgm:resizeHandles val="exact"/>
        </dgm:presLayoutVars>
      </dgm:prSet>
      <dgm:spPr/>
    </dgm:pt>
    <dgm:pt modelId="{0A3A1FE4-516E-460E-86E2-810DDEF99D88}" type="pres">
      <dgm:prSet presAssocID="{439BDF0E-745B-4E3B-B91D-9A383510BF63}" presName="parentText" presStyleLbl="node1" presStyleIdx="0" presStyleCnt="5" custLinFactY="-7122" custLinFactNeighborX="1031" custLinFactNeighborY="-100000">
        <dgm:presLayoutVars>
          <dgm:chMax val="0"/>
          <dgm:bulletEnabled val="1"/>
        </dgm:presLayoutVars>
      </dgm:prSet>
      <dgm:spPr/>
    </dgm:pt>
    <dgm:pt modelId="{F24F261E-F9BD-4D99-8DD1-A30B47F2BA0E}" type="pres">
      <dgm:prSet presAssocID="{7CA74353-A529-4A13-87F8-74879C8B6E8E}" presName="spacer" presStyleCnt="0"/>
      <dgm:spPr/>
    </dgm:pt>
    <dgm:pt modelId="{2E3801A4-1167-4430-8FFF-869C02FD35FD}" type="pres">
      <dgm:prSet presAssocID="{8DF2DA1F-E52C-47EE-8B53-73705B02F25A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37FF25BA-A2E7-4BF9-8E5A-618185D4F10F}" type="pres">
      <dgm:prSet presAssocID="{CB938820-EB7B-4ACD-A98B-B72490123578}" presName="spacer" presStyleCnt="0"/>
      <dgm:spPr/>
    </dgm:pt>
    <dgm:pt modelId="{74CEB337-6AB2-43B9-935B-3B831A77391A}" type="pres">
      <dgm:prSet presAssocID="{63CEF234-9191-45CA-93D5-5C847D0113A6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DD359858-634F-451E-935A-2FCE02B18640}" type="pres">
      <dgm:prSet presAssocID="{051970BA-6D55-4CEA-99EB-5FAC85CE96ED}" presName="spacer" presStyleCnt="0"/>
      <dgm:spPr/>
    </dgm:pt>
    <dgm:pt modelId="{4E65EFF9-7318-498E-909A-DA15AD9BCE1D}" type="pres">
      <dgm:prSet presAssocID="{32459366-FF0C-4C63-BD73-BFD8F49C6A00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A3A58BF4-6026-474B-9B52-F5B9881998F5}" type="pres">
      <dgm:prSet presAssocID="{384C959A-CAB2-4764-A68E-2708732302F9}" presName="spacer" presStyleCnt="0"/>
      <dgm:spPr/>
    </dgm:pt>
    <dgm:pt modelId="{C770FA34-67FB-4805-8849-275EB89ACECC}" type="pres">
      <dgm:prSet presAssocID="{8D522C85-F19A-4815-BC7E-B60BA2A9C15E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49D82012-FAC6-473B-A598-E765D7045A6A}" srcId="{D0FE4B48-10E7-40D9-8EF2-899EE9D6BBEF}" destId="{8D522C85-F19A-4815-BC7E-B60BA2A9C15E}" srcOrd="4" destOrd="0" parTransId="{6473E367-3522-4668-99AC-01953F8707CD}" sibTransId="{AC8CCB8F-1EED-4250-ACFE-BE8E80583AA2}"/>
    <dgm:cxn modelId="{E26AEE34-B791-4CE8-8546-5B5975C0CFF8}" srcId="{D0FE4B48-10E7-40D9-8EF2-899EE9D6BBEF}" destId="{8DF2DA1F-E52C-47EE-8B53-73705B02F25A}" srcOrd="1" destOrd="0" parTransId="{DC5AEBE2-F135-4440-845B-373E154C2C3C}" sibTransId="{CB938820-EB7B-4ACD-A98B-B72490123578}"/>
    <dgm:cxn modelId="{14435C68-DD60-4264-986A-2B87CAD7C21D}" srcId="{D0FE4B48-10E7-40D9-8EF2-899EE9D6BBEF}" destId="{439BDF0E-745B-4E3B-B91D-9A383510BF63}" srcOrd="0" destOrd="0" parTransId="{845DDFFE-7F7C-4961-B4B0-8C50142A578D}" sibTransId="{7CA74353-A529-4A13-87F8-74879C8B6E8E}"/>
    <dgm:cxn modelId="{75799C69-1BBA-48F2-A862-264E6A41338D}" srcId="{D0FE4B48-10E7-40D9-8EF2-899EE9D6BBEF}" destId="{63CEF234-9191-45CA-93D5-5C847D0113A6}" srcOrd="2" destOrd="0" parTransId="{BDEF4C94-839E-4D4E-A0D3-1C0322D32311}" sibTransId="{051970BA-6D55-4CEA-99EB-5FAC85CE96ED}"/>
    <dgm:cxn modelId="{7538CE7B-648F-4222-8E56-CF0C7C880A97}" srcId="{D0FE4B48-10E7-40D9-8EF2-899EE9D6BBEF}" destId="{32459366-FF0C-4C63-BD73-BFD8F49C6A00}" srcOrd="3" destOrd="0" parTransId="{557B5297-94F0-4EFE-BEFD-09CA64C7D397}" sibTransId="{384C959A-CAB2-4764-A68E-2708732302F9}"/>
    <dgm:cxn modelId="{38FF097D-F45A-44A9-BBFB-04DD928554D2}" type="presOf" srcId="{63CEF234-9191-45CA-93D5-5C847D0113A6}" destId="{74CEB337-6AB2-43B9-935B-3B831A77391A}" srcOrd="0" destOrd="0" presId="urn:microsoft.com/office/officeart/2005/8/layout/vList2"/>
    <dgm:cxn modelId="{9C8C8E7D-4FE0-44B8-BB48-5734518C2CBB}" type="presOf" srcId="{439BDF0E-745B-4E3B-B91D-9A383510BF63}" destId="{0A3A1FE4-516E-460E-86E2-810DDEF99D88}" srcOrd="0" destOrd="0" presId="urn:microsoft.com/office/officeart/2005/8/layout/vList2"/>
    <dgm:cxn modelId="{38339D92-04DF-4D8A-B58C-BA0C8A69F368}" type="presOf" srcId="{8DF2DA1F-E52C-47EE-8B53-73705B02F25A}" destId="{2E3801A4-1167-4430-8FFF-869C02FD35FD}" srcOrd="0" destOrd="0" presId="urn:microsoft.com/office/officeart/2005/8/layout/vList2"/>
    <dgm:cxn modelId="{0D90E4AF-E698-45BE-84E1-6A38F92357F9}" type="presOf" srcId="{32459366-FF0C-4C63-BD73-BFD8F49C6A00}" destId="{4E65EFF9-7318-498E-909A-DA15AD9BCE1D}" srcOrd="0" destOrd="0" presId="urn:microsoft.com/office/officeart/2005/8/layout/vList2"/>
    <dgm:cxn modelId="{1E4D8CDC-07EA-4E6D-B8FE-E60F088DFCE3}" type="presOf" srcId="{D0FE4B48-10E7-40D9-8EF2-899EE9D6BBEF}" destId="{F73C9558-FF16-4A22-8033-B889FEE4FAD8}" srcOrd="0" destOrd="0" presId="urn:microsoft.com/office/officeart/2005/8/layout/vList2"/>
    <dgm:cxn modelId="{21995DE0-8B6A-467D-99C3-91883587506F}" type="presOf" srcId="{8D522C85-F19A-4815-BC7E-B60BA2A9C15E}" destId="{C770FA34-67FB-4805-8849-275EB89ACECC}" srcOrd="0" destOrd="0" presId="urn:microsoft.com/office/officeart/2005/8/layout/vList2"/>
    <dgm:cxn modelId="{C7208E87-D953-45C0-B474-B23B48D3BEEA}" type="presParOf" srcId="{F73C9558-FF16-4A22-8033-B889FEE4FAD8}" destId="{0A3A1FE4-516E-460E-86E2-810DDEF99D88}" srcOrd="0" destOrd="0" presId="urn:microsoft.com/office/officeart/2005/8/layout/vList2"/>
    <dgm:cxn modelId="{18CC2AED-684A-4757-B06B-8D5EA1C50BF1}" type="presParOf" srcId="{F73C9558-FF16-4A22-8033-B889FEE4FAD8}" destId="{F24F261E-F9BD-4D99-8DD1-A30B47F2BA0E}" srcOrd="1" destOrd="0" presId="urn:microsoft.com/office/officeart/2005/8/layout/vList2"/>
    <dgm:cxn modelId="{9C04C0F0-474D-431A-9B04-88DE68031CA4}" type="presParOf" srcId="{F73C9558-FF16-4A22-8033-B889FEE4FAD8}" destId="{2E3801A4-1167-4430-8FFF-869C02FD35FD}" srcOrd="2" destOrd="0" presId="urn:microsoft.com/office/officeart/2005/8/layout/vList2"/>
    <dgm:cxn modelId="{D1C77070-55F9-41AD-B275-DE87E8E02B98}" type="presParOf" srcId="{F73C9558-FF16-4A22-8033-B889FEE4FAD8}" destId="{37FF25BA-A2E7-4BF9-8E5A-618185D4F10F}" srcOrd="3" destOrd="0" presId="urn:microsoft.com/office/officeart/2005/8/layout/vList2"/>
    <dgm:cxn modelId="{1F9C69E9-1F31-482B-9F8D-3ED20DD6DE32}" type="presParOf" srcId="{F73C9558-FF16-4A22-8033-B889FEE4FAD8}" destId="{74CEB337-6AB2-43B9-935B-3B831A77391A}" srcOrd="4" destOrd="0" presId="urn:microsoft.com/office/officeart/2005/8/layout/vList2"/>
    <dgm:cxn modelId="{7B5BC704-907D-4525-99A2-19AE4BBCC95B}" type="presParOf" srcId="{F73C9558-FF16-4A22-8033-B889FEE4FAD8}" destId="{DD359858-634F-451E-935A-2FCE02B18640}" srcOrd="5" destOrd="0" presId="urn:microsoft.com/office/officeart/2005/8/layout/vList2"/>
    <dgm:cxn modelId="{12E4253B-2F07-4AB2-8AC6-4B6537303165}" type="presParOf" srcId="{F73C9558-FF16-4A22-8033-B889FEE4FAD8}" destId="{4E65EFF9-7318-498E-909A-DA15AD9BCE1D}" srcOrd="6" destOrd="0" presId="urn:microsoft.com/office/officeart/2005/8/layout/vList2"/>
    <dgm:cxn modelId="{71D0F762-F643-4A69-A527-5505C1158887}" type="presParOf" srcId="{F73C9558-FF16-4A22-8033-B889FEE4FAD8}" destId="{A3A58BF4-6026-474B-9B52-F5B9881998F5}" srcOrd="7" destOrd="0" presId="urn:microsoft.com/office/officeart/2005/8/layout/vList2"/>
    <dgm:cxn modelId="{EA7632FC-6761-482C-87CC-4B82B35BEB90}" type="presParOf" srcId="{F73C9558-FF16-4A22-8033-B889FEE4FAD8}" destId="{C770FA34-67FB-4805-8849-275EB89ACECC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8731F1-C906-43DF-B22A-4AC3DFA5E6ED}" type="doc">
      <dgm:prSet loTypeId="urn:microsoft.com/office/officeart/2005/8/layout/vList2" loCatId="list" qsTypeId="urn:microsoft.com/office/officeart/2005/8/quickstyle/3d3" qsCatId="3D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53A2096-8D9E-4FB1-B8EC-D6410182F5B9}">
      <dgm:prSet custT="1"/>
      <dgm:spPr/>
      <dgm:t>
        <a:bodyPr/>
        <a:lstStyle/>
        <a:p>
          <a:pPr algn="ctr" rtl="0"/>
          <a:r>
            <a:rPr lang="en-US" sz="2800" b="1" dirty="0"/>
            <a:t>Pediatric Emergency Medicine Fellowship Program</a:t>
          </a:r>
          <a:endParaRPr lang="en-US" sz="2800" dirty="0"/>
        </a:p>
      </dgm:t>
    </dgm:pt>
    <dgm:pt modelId="{EA736822-B693-42CC-91E0-15BF23857631}" type="parTrans" cxnId="{BBEF47D3-A51A-4177-B52F-F22D0B85A886}">
      <dgm:prSet/>
      <dgm:spPr/>
      <dgm:t>
        <a:bodyPr/>
        <a:lstStyle/>
        <a:p>
          <a:endParaRPr lang="en-US" sz="2800"/>
        </a:p>
      </dgm:t>
    </dgm:pt>
    <dgm:pt modelId="{D954D58E-E690-4714-BE49-6B3FC196450D}" type="sibTrans" cxnId="{BBEF47D3-A51A-4177-B52F-F22D0B85A886}">
      <dgm:prSet/>
      <dgm:spPr/>
      <dgm:t>
        <a:bodyPr/>
        <a:lstStyle/>
        <a:p>
          <a:endParaRPr lang="en-US" sz="2800"/>
        </a:p>
      </dgm:t>
    </dgm:pt>
    <dgm:pt modelId="{B97A1FD2-33FB-4967-BD19-973CA49CEC1C}" type="pres">
      <dgm:prSet presAssocID="{288731F1-C906-43DF-B22A-4AC3DFA5E6ED}" presName="linear" presStyleCnt="0">
        <dgm:presLayoutVars>
          <dgm:animLvl val="lvl"/>
          <dgm:resizeHandles val="exact"/>
        </dgm:presLayoutVars>
      </dgm:prSet>
      <dgm:spPr/>
    </dgm:pt>
    <dgm:pt modelId="{BC906D1E-6B80-48AF-8AD0-F1387B6DD54A}" type="pres">
      <dgm:prSet presAssocID="{D53A2096-8D9E-4FB1-B8EC-D6410182F5B9}" presName="parentText" presStyleLbl="node1" presStyleIdx="0" presStyleCnt="1" custLinFactNeighborX="-1348" custLinFactNeighborY="-11682">
        <dgm:presLayoutVars>
          <dgm:chMax val="0"/>
          <dgm:bulletEnabled val="1"/>
        </dgm:presLayoutVars>
      </dgm:prSet>
      <dgm:spPr/>
    </dgm:pt>
  </dgm:ptLst>
  <dgm:cxnLst>
    <dgm:cxn modelId="{ACB39963-551C-4978-A674-DBAAC0AE9FA3}" type="presOf" srcId="{D53A2096-8D9E-4FB1-B8EC-D6410182F5B9}" destId="{BC906D1E-6B80-48AF-8AD0-F1387B6DD54A}" srcOrd="0" destOrd="0" presId="urn:microsoft.com/office/officeart/2005/8/layout/vList2"/>
    <dgm:cxn modelId="{757836C5-956C-41DE-AC42-52A0B85C5711}" type="presOf" srcId="{288731F1-C906-43DF-B22A-4AC3DFA5E6ED}" destId="{B97A1FD2-33FB-4967-BD19-973CA49CEC1C}" srcOrd="0" destOrd="0" presId="urn:microsoft.com/office/officeart/2005/8/layout/vList2"/>
    <dgm:cxn modelId="{BBEF47D3-A51A-4177-B52F-F22D0B85A886}" srcId="{288731F1-C906-43DF-B22A-4AC3DFA5E6ED}" destId="{D53A2096-8D9E-4FB1-B8EC-D6410182F5B9}" srcOrd="0" destOrd="0" parTransId="{EA736822-B693-42CC-91E0-15BF23857631}" sibTransId="{D954D58E-E690-4714-BE49-6B3FC196450D}"/>
    <dgm:cxn modelId="{CFFEF264-C14F-4391-8401-3AC13984A31E}" type="presParOf" srcId="{B97A1FD2-33FB-4967-BD19-973CA49CEC1C}" destId="{BC906D1E-6B80-48AF-8AD0-F1387B6DD54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BCEC18BD-0116-49D5-9202-DA7F4A3C7EED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3ED612D9-5563-432A-9AC5-E063425703A9}">
      <dgm:prSet custT="1"/>
      <dgm:spPr/>
      <dgm:t>
        <a:bodyPr/>
        <a:lstStyle/>
        <a:p>
          <a:pPr rtl="0"/>
          <a:r>
            <a:rPr lang="en-US" sz="2000" b="1" dirty="0"/>
            <a:t>8.25 months Research (Extra hours experience)*</a:t>
          </a:r>
        </a:p>
      </dgm:t>
    </dgm:pt>
    <dgm:pt modelId="{44D89D95-BFAA-44F9-8852-9D38897EBF31}" type="parTrans" cxnId="{ACCBF4A8-AC66-424B-8349-BC1843A20FF7}">
      <dgm:prSet/>
      <dgm:spPr/>
      <dgm:t>
        <a:bodyPr/>
        <a:lstStyle/>
        <a:p>
          <a:endParaRPr lang="en-US" sz="1800" b="1"/>
        </a:p>
      </dgm:t>
    </dgm:pt>
    <dgm:pt modelId="{5E10B03A-D86F-4E7F-9A22-D68BDE0E2E00}" type="sibTrans" cxnId="{ACCBF4A8-AC66-424B-8349-BC1843A20FF7}">
      <dgm:prSet/>
      <dgm:spPr/>
      <dgm:t>
        <a:bodyPr/>
        <a:lstStyle/>
        <a:p>
          <a:endParaRPr lang="en-US" sz="1800" b="1"/>
        </a:p>
      </dgm:t>
    </dgm:pt>
    <dgm:pt modelId="{6C154393-FD91-45D3-A901-83EBE5263305}">
      <dgm:prSet custT="1"/>
      <dgm:spPr/>
      <dgm:t>
        <a:bodyPr/>
        <a:lstStyle/>
        <a:p>
          <a:pPr rtl="0"/>
          <a:r>
            <a:rPr lang="en-US" sz="2000" b="1" dirty="0"/>
            <a:t>1 month elective</a:t>
          </a:r>
        </a:p>
      </dgm:t>
    </dgm:pt>
    <dgm:pt modelId="{0B2220B3-A0EB-4C8E-A5C7-915C9BB11E50}" type="parTrans" cxnId="{4E60E0B2-3698-407F-8431-7543B06E1A7C}">
      <dgm:prSet/>
      <dgm:spPr/>
      <dgm:t>
        <a:bodyPr/>
        <a:lstStyle/>
        <a:p>
          <a:endParaRPr lang="en-US" sz="1800" b="1"/>
        </a:p>
      </dgm:t>
    </dgm:pt>
    <dgm:pt modelId="{0B5086C0-9FE0-463F-97DA-09AD99D4749D}" type="sibTrans" cxnId="{4E60E0B2-3698-407F-8431-7543B06E1A7C}">
      <dgm:prSet/>
      <dgm:spPr/>
      <dgm:t>
        <a:bodyPr/>
        <a:lstStyle/>
        <a:p>
          <a:endParaRPr lang="en-US" sz="1800" b="1"/>
        </a:p>
      </dgm:t>
    </dgm:pt>
    <dgm:pt modelId="{0AF2C91D-27C9-4ADB-8BF7-0A13CFAF41E5}">
      <dgm:prSet custT="1"/>
      <dgm:spPr/>
      <dgm:t>
        <a:bodyPr/>
        <a:lstStyle/>
        <a:p>
          <a:pPr rtl="0"/>
          <a:r>
            <a:rPr lang="en-US" sz="2000" b="1" dirty="0"/>
            <a:t>1 month EMS</a:t>
          </a:r>
        </a:p>
      </dgm:t>
    </dgm:pt>
    <dgm:pt modelId="{56BD9512-34E8-4CA6-A5D6-80A1ED2D6893}" type="parTrans" cxnId="{36DC1005-646A-4C86-8B71-3B046A66C465}">
      <dgm:prSet/>
      <dgm:spPr/>
      <dgm:t>
        <a:bodyPr/>
        <a:lstStyle/>
        <a:p>
          <a:endParaRPr lang="en-US" sz="1800" b="1"/>
        </a:p>
      </dgm:t>
    </dgm:pt>
    <dgm:pt modelId="{5EBEB04D-9BD5-4C76-9D7F-CF6B9686295D}" type="sibTrans" cxnId="{36DC1005-646A-4C86-8B71-3B046A66C465}">
      <dgm:prSet/>
      <dgm:spPr/>
      <dgm:t>
        <a:bodyPr/>
        <a:lstStyle/>
        <a:p>
          <a:endParaRPr lang="en-US" sz="1800" b="1"/>
        </a:p>
      </dgm:t>
    </dgm:pt>
    <dgm:pt modelId="{0BB5E831-F15A-4CCB-BABC-718A8D10137C}">
      <dgm:prSet custT="1"/>
      <dgm:spPr/>
      <dgm:t>
        <a:bodyPr/>
        <a:lstStyle/>
        <a:p>
          <a:pPr rtl="0"/>
          <a:r>
            <a:rPr lang="en-US" sz="2000" b="1" dirty="0"/>
            <a:t>1 month adult emergency medicine- </a:t>
          </a:r>
          <a:r>
            <a:rPr lang="en-US" sz="2000" b="0" dirty="0"/>
            <a:t>Ben Taub General Hospital or Memorial Hermann </a:t>
          </a:r>
        </a:p>
      </dgm:t>
    </dgm:pt>
    <dgm:pt modelId="{E3DFDB09-5BC8-4ED4-92C1-4427AF01F6E3}" type="parTrans" cxnId="{C61A8E48-E514-42E7-A18D-6F57F873AFC5}">
      <dgm:prSet/>
      <dgm:spPr/>
      <dgm:t>
        <a:bodyPr/>
        <a:lstStyle/>
        <a:p>
          <a:endParaRPr lang="en-US" sz="1800" b="1"/>
        </a:p>
      </dgm:t>
    </dgm:pt>
    <dgm:pt modelId="{85BAB1CC-4CFD-48AB-8206-E715B69CB8FD}" type="sibTrans" cxnId="{C61A8E48-E514-42E7-A18D-6F57F873AFC5}">
      <dgm:prSet/>
      <dgm:spPr/>
      <dgm:t>
        <a:bodyPr/>
        <a:lstStyle/>
        <a:p>
          <a:endParaRPr lang="en-US" sz="1800" b="1"/>
        </a:p>
      </dgm:t>
    </dgm:pt>
    <dgm:pt modelId="{740E3118-3835-431E-BF20-9BE14D1AA616}">
      <dgm:prSet custT="1"/>
      <dgm:spPr/>
      <dgm:t>
        <a:bodyPr/>
        <a:lstStyle/>
        <a:p>
          <a:pPr rtl="0"/>
          <a:r>
            <a:rPr lang="en-US" sz="2000" b="1" dirty="0"/>
            <a:t>1 week radiology</a:t>
          </a:r>
        </a:p>
      </dgm:t>
    </dgm:pt>
    <dgm:pt modelId="{BBE336BA-EDA0-4563-A5A5-706CBD643237}" type="parTrans" cxnId="{B29E210C-E5C1-48C2-8848-192279E0B749}">
      <dgm:prSet/>
      <dgm:spPr/>
      <dgm:t>
        <a:bodyPr/>
        <a:lstStyle/>
        <a:p>
          <a:endParaRPr lang="en-US" sz="1800" b="1"/>
        </a:p>
      </dgm:t>
    </dgm:pt>
    <dgm:pt modelId="{242D8CB0-D010-4571-9CE2-A1F6E060EF7A}" type="sibTrans" cxnId="{B29E210C-E5C1-48C2-8848-192279E0B749}">
      <dgm:prSet/>
      <dgm:spPr/>
      <dgm:t>
        <a:bodyPr/>
        <a:lstStyle/>
        <a:p>
          <a:endParaRPr lang="en-US" sz="1800" b="1"/>
        </a:p>
      </dgm:t>
    </dgm:pt>
    <dgm:pt modelId="{DFB0DE35-C69A-4DE8-81CE-3FD6409CB734}">
      <dgm:prSet custT="1"/>
      <dgm:spPr/>
      <dgm:t>
        <a:bodyPr/>
        <a:lstStyle/>
        <a:p>
          <a:r>
            <a:rPr lang="en-US" sz="2000" b="1" dirty="0"/>
            <a:t>2 weeks anesthesia </a:t>
          </a:r>
        </a:p>
      </dgm:t>
    </dgm:pt>
    <dgm:pt modelId="{548A1450-05A3-49B9-8EEC-E49C595017D7}" type="parTrans" cxnId="{5F1C12F7-9DF6-48E7-92ED-BD61AE25000E}">
      <dgm:prSet/>
      <dgm:spPr/>
      <dgm:t>
        <a:bodyPr/>
        <a:lstStyle/>
        <a:p>
          <a:endParaRPr lang="en-US"/>
        </a:p>
      </dgm:t>
    </dgm:pt>
    <dgm:pt modelId="{3BE6E9D2-B74B-47B4-ADE0-2EAE2B17C1F5}" type="sibTrans" cxnId="{5F1C12F7-9DF6-48E7-92ED-BD61AE25000E}">
      <dgm:prSet/>
      <dgm:spPr/>
      <dgm:t>
        <a:bodyPr/>
        <a:lstStyle/>
        <a:p>
          <a:endParaRPr lang="en-US"/>
        </a:p>
      </dgm:t>
    </dgm:pt>
    <dgm:pt modelId="{0F583A21-1750-4F7B-A911-3062B1AB6C04}">
      <dgm:prSet custT="1"/>
      <dgm:spPr/>
      <dgm:t>
        <a:bodyPr/>
        <a:lstStyle/>
        <a:p>
          <a:pPr rtl="0"/>
          <a:r>
            <a:rPr lang="en-US" sz="1200" b="0" dirty="0"/>
            <a:t>Finish in July whatever required clinical hours not completed in years 1 and 2; otherwise no required ED shifts;</a:t>
          </a:r>
        </a:p>
        <a:p>
          <a:pPr rtl="0"/>
          <a:r>
            <a:rPr lang="en-US" sz="1200" b="0" dirty="0"/>
            <a:t>Extra hours experience available to maintain clinical skills (approximately 60 clinical hours/month)</a:t>
          </a:r>
          <a:endParaRPr lang="en-US" sz="1200" b="1" dirty="0"/>
        </a:p>
      </dgm:t>
    </dgm:pt>
    <dgm:pt modelId="{7919AC07-75EA-4109-835B-2A20FDCF0FC1}" type="parTrans" cxnId="{080B0F1B-FA02-4F91-88D8-DBD75F8E28E3}">
      <dgm:prSet/>
      <dgm:spPr/>
      <dgm:t>
        <a:bodyPr/>
        <a:lstStyle/>
        <a:p>
          <a:endParaRPr lang="en-US"/>
        </a:p>
      </dgm:t>
    </dgm:pt>
    <dgm:pt modelId="{167CED62-C761-4D87-A354-291099677427}" type="sibTrans" cxnId="{080B0F1B-FA02-4F91-88D8-DBD75F8E28E3}">
      <dgm:prSet/>
      <dgm:spPr/>
      <dgm:t>
        <a:bodyPr/>
        <a:lstStyle/>
        <a:p>
          <a:endParaRPr lang="en-US"/>
        </a:p>
      </dgm:t>
    </dgm:pt>
    <dgm:pt modelId="{697191B0-C564-41A3-901B-2CC59BEA4DE5}" type="pres">
      <dgm:prSet presAssocID="{BCEC18BD-0116-49D5-9202-DA7F4A3C7EED}" presName="linear" presStyleCnt="0">
        <dgm:presLayoutVars>
          <dgm:animLvl val="lvl"/>
          <dgm:resizeHandles val="exact"/>
        </dgm:presLayoutVars>
      </dgm:prSet>
      <dgm:spPr/>
    </dgm:pt>
    <dgm:pt modelId="{080C2635-AFA6-477D-A6E8-7CD779203DE1}" type="pres">
      <dgm:prSet presAssocID="{3ED612D9-5563-432A-9AC5-E063425703A9}" presName="parentText" presStyleLbl="node1" presStyleIdx="0" presStyleCnt="7">
        <dgm:presLayoutVars>
          <dgm:chMax val="0"/>
          <dgm:bulletEnabled val="1"/>
        </dgm:presLayoutVars>
      </dgm:prSet>
      <dgm:spPr/>
    </dgm:pt>
    <dgm:pt modelId="{FCF3220C-2A63-4405-A363-985B9691A2A7}" type="pres">
      <dgm:prSet presAssocID="{5E10B03A-D86F-4E7F-9A22-D68BDE0E2E00}" presName="spacer" presStyleCnt="0"/>
      <dgm:spPr/>
    </dgm:pt>
    <dgm:pt modelId="{7C6724F1-9580-466C-80AE-98A5C42BCC2F}" type="pres">
      <dgm:prSet presAssocID="{DFB0DE35-C69A-4DE8-81CE-3FD6409CB734}" presName="parentText" presStyleLbl="node1" presStyleIdx="1" presStyleCnt="7" custLinFactNeighborY="-35068">
        <dgm:presLayoutVars>
          <dgm:chMax val="0"/>
          <dgm:bulletEnabled val="1"/>
        </dgm:presLayoutVars>
      </dgm:prSet>
      <dgm:spPr/>
    </dgm:pt>
    <dgm:pt modelId="{7A3A3930-055D-47CD-B20F-D57DDB524011}" type="pres">
      <dgm:prSet presAssocID="{3BE6E9D2-B74B-47B4-ADE0-2EAE2B17C1F5}" presName="spacer" presStyleCnt="0"/>
      <dgm:spPr/>
    </dgm:pt>
    <dgm:pt modelId="{D556F64A-4602-4807-9AA9-0A8F2B990773}" type="pres">
      <dgm:prSet presAssocID="{6C154393-FD91-45D3-A901-83EBE5263305}" presName="parentText" presStyleLbl="node1" presStyleIdx="2" presStyleCnt="7" custLinFactNeighborY="-58679">
        <dgm:presLayoutVars>
          <dgm:chMax val="0"/>
          <dgm:bulletEnabled val="1"/>
        </dgm:presLayoutVars>
      </dgm:prSet>
      <dgm:spPr/>
    </dgm:pt>
    <dgm:pt modelId="{F9D28A1B-B657-4893-81FA-DC959401EC0A}" type="pres">
      <dgm:prSet presAssocID="{0B5086C0-9FE0-463F-97DA-09AD99D4749D}" presName="spacer" presStyleCnt="0"/>
      <dgm:spPr/>
    </dgm:pt>
    <dgm:pt modelId="{9416462E-BD3D-4A26-98AF-96936FAB78D7}" type="pres">
      <dgm:prSet presAssocID="{0AF2C91D-27C9-4ADB-8BF7-0A13CFAF41E5}" presName="parentText" presStyleLbl="node1" presStyleIdx="3" presStyleCnt="7" custLinFactNeighborY="-82291">
        <dgm:presLayoutVars>
          <dgm:chMax val="0"/>
          <dgm:bulletEnabled val="1"/>
        </dgm:presLayoutVars>
      </dgm:prSet>
      <dgm:spPr/>
    </dgm:pt>
    <dgm:pt modelId="{F936569C-6C46-4C93-9D5D-8B92C986B3A1}" type="pres">
      <dgm:prSet presAssocID="{5EBEB04D-9BD5-4C76-9D7F-CF6B9686295D}" presName="spacer" presStyleCnt="0"/>
      <dgm:spPr/>
    </dgm:pt>
    <dgm:pt modelId="{E9EB1B1D-D84F-43D2-A820-0F1D198F4FDE}" type="pres">
      <dgm:prSet presAssocID="{0BB5E831-F15A-4CCB-BABC-718A8D10137C}" presName="parentText" presStyleLbl="node1" presStyleIdx="4" presStyleCnt="7" custLinFactY="-660" custLinFactNeighborX="-70" custLinFactNeighborY="-100000">
        <dgm:presLayoutVars>
          <dgm:chMax val="0"/>
          <dgm:bulletEnabled val="1"/>
        </dgm:presLayoutVars>
      </dgm:prSet>
      <dgm:spPr/>
    </dgm:pt>
    <dgm:pt modelId="{DABA0AF6-5DB1-43E2-95AF-10B94F15E646}" type="pres">
      <dgm:prSet presAssocID="{85BAB1CC-4CFD-48AB-8206-E715B69CB8FD}" presName="spacer" presStyleCnt="0"/>
      <dgm:spPr/>
    </dgm:pt>
    <dgm:pt modelId="{6847EBE8-2D93-4149-A7A3-FD268A36D451}" type="pres">
      <dgm:prSet presAssocID="{740E3118-3835-431E-BF20-9BE14D1AA616}" presName="parentText" presStyleLbl="node1" presStyleIdx="5" presStyleCnt="7" custLinFactY="-3302" custLinFactNeighborX="-106" custLinFactNeighborY="-100000">
        <dgm:presLayoutVars>
          <dgm:chMax val="0"/>
          <dgm:bulletEnabled val="1"/>
        </dgm:presLayoutVars>
      </dgm:prSet>
      <dgm:spPr/>
    </dgm:pt>
    <dgm:pt modelId="{56FDC798-9260-4F12-84DF-E20E217B26C9}" type="pres">
      <dgm:prSet presAssocID="{242D8CB0-D010-4571-9CE2-A1F6E060EF7A}" presName="spacer" presStyleCnt="0"/>
      <dgm:spPr/>
    </dgm:pt>
    <dgm:pt modelId="{153FA5F4-B9F3-41FC-84FB-8BEF21C4686E}" type="pres">
      <dgm:prSet presAssocID="{0F583A21-1750-4F7B-A911-3062B1AB6C04}" presName="parentText" presStyleLbl="node1" presStyleIdx="6" presStyleCnt="7" custLinFactY="-27001" custLinFactNeighborX="-388" custLinFactNeighborY="-100000">
        <dgm:presLayoutVars>
          <dgm:chMax val="0"/>
          <dgm:bulletEnabled val="1"/>
        </dgm:presLayoutVars>
      </dgm:prSet>
      <dgm:spPr/>
    </dgm:pt>
  </dgm:ptLst>
  <dgm:cxnLst>
    <dgm:cxn modelId="{36DC1005-646A-4C86-8B71-3B046A66C465}" srcId="{BCEC18BD-0116-49D5-9202-DA7F4A3C7EED}" destId="{0AF2C91D-27C9-4ADB-8BF7-0A13CFAF41E5}" srcOrd="3" destOrd="0" parTransId="{56BD9512-34E8-4CA6-A5D6-80A1ED2D6893}" sibTransId="{5EBEB04D-9BD5-4C76-9D7F-CF6B9686295D}"/>
    <dgm:cxn modelId="{B29E210C-E5C1-48C2-8848-192279E0B749}" srcId="{BCEC18BD-0116-49D5-9202-DA7F4A3C7EED}" destId="{740E3118-3835-431E-BF20-9BE14D1AA616}" srcOrd="5" destOrd="0" parTransId="{BBE336BA-EDA0-4563-A5A5-706CBD643237}" sibTransId="{242D8CB0-D010-4571-9CE2-A1F6E060EF7A}"/>
    <dgm:cxn modelId="{080B0F1B-FA02-4F91-88D8-DBD75F8E28E3}" srcId="{BCEC18BD-0116-49D5-9202-DA7F4A3C7EED}" destId="{0F583A21-1750-4F7B-A911-3062B1AB6C04}" srcOrd="6" destOrd="0" parTransId="{7919AC07-75EA-4109-835B-2A20FDCF0FC1}" sibTransId="{167CED62-C761-4D87-A354-291099677427}"/>
    <dgm:cxn modelId="{C61A8E48-E514-42E7-A18D-6F57F873AFC5}" srcId="{BCEC18BD-0116-49D5-9202-DA7F4A3C7EED}" destId="{0BB5E831-F15A-4CCB-BABC-718A8D10137C}" srcOrd="4" destOrd="0" parTransId="{E3DFDB09-5BC8-4ED4-92C1-4427AF01F6E3}" sibTransId="{85BAB1CC-4CFD-48AB-8206-E715B69CB8FD}"/>
    <dgm:cxn modelId="{5D6E8469-7182-42D3-BCE3-D5F19A017000}" type="presOf" srcId="{740E3118-3835-431E-BF20-9BE14D1AA616}" destId="{6847EBE8-2D93-4149-A7A3-FD268A36D451}" srcOrd="0" destOrd="0" presId="urn:microsoft.com/office/officeart/2005/8/layout/vList2"/>
    <dgm:cxn modelId="{7C015675-C448-41B5-BC40-06F9F5357B64}" type="presOf" srcId="{0F583A21-1750-4F7B-A911-3062B1AB6C04}" destId="{153FA5F4-B9F3-41FC-84FB-8BEF21C4686E}" srcOrd="0" destOrd="0" presId="urn:microsoft.com/office/officeart/2005/8/layout/vList2"/>
    <dgm:cxn modelId="{C65F428B-166C-4C79-8394-AC0D23DD2863}" type="presOf" srcId="{6C154393-FD91-45D3-A901-83EBE5263305}" destId="{D556F64A-4602-4807-9AA9-0A8F2B990773}" srcOrd="0" destOrd="0" presId="urn:microsoft.com/office/officeart/2005/8/layout/vList2"/>
    <dgm:cxn modelId="{67580F8E-C863-49D7-8AA0-C20A83265CD7}" type="presOf" srcId="{0BB5E831-F15A-4CCB-BABC-718A8D10137C}" destId="{E9EB1B1D-D84F-43D2-A820-0F1D198F4FDE}" srcOrd="0" destOrd="0" presId="urn:microsoft.com/office/officeart/2005/8/layout/vList2"/>
    <dgm:cxn modelId="{ACCBF4A8-AC66-424B-8349-BC1843A20FF7}" srcId="{BCEC18BD-0116-49D5-9202-DA7F4A3C7EED}" destId="{3ED612D9-5563-432A-9AC5-E063425703A9}" srcOrd="0" destOrd="0" parTransId="{44D89D95-BFAA-44F9-8852-9D38897EBF31}" sibTransId="{5E10B03A-D86F-4E7F-9A22-D68BDE0E2E00}"/>
    <dgm:cxn modelId="{4E60E0B2-3698-407F-8431-7543B06E1A7C}" srcId="{BCEC18BD-0116-49D5-9202-DA7F4A3C7EED}" destId="{6C154393-FD91-45D3-A901-83EBE5263305}" srcOrd="2" destOrd="0" parTransId="{0B2220B3-A0EB-4C8E-A5C7-915C9BB11E50}" sibTransId="{0B5086C0-9FE0-463F-97DA-09AD99D4749D}"/>
    <dgm:cxn modelId="{E6724AE1-526B-4171-9E6E-BF71F890155C}" type="presOf" srcId="{0AF2C91D-27C9-4ADB-8BF7-0A13CFAF41E5}" destId="{9416462E-BD3D-4A26-98AF-96936FAB78D7}" srcOrd="0" destOrd="0" presId="urn:microsoft.com/office/officeart/2005/8/layout/vList2"/>
    <dgm:cxn modelId="{BFE859EA-0E04-4ACB-ADAF-8736583B589F}" type="presOf" srcId="{BCEC18BD-0116-49D5-9202-DA7F4A3C7EED}" destId="{697191B0-C564-41A3-901B-2CC59BEA4DE5}" srcOrd="0" destOrd="0" presId="urn:microsoft.com/office/officeart/2005/8/layout/vList2"/>
    <dgm:cxn modelId="{96FCB7EA-FE0A-4EEF-A1F1-99C4706A5469}" type="presOf" srcId="{3ED612D9-5563-432A-9AC5-E063425703A9}" destId="{080C2635-AFA6-477D-A6E8-7CD779203DE1}" srcOrd="0" destOrd="0" presId="urn:microsoft.com/office/officeart/2005/8/layout/vList2"/>
    <dgm:cxn modelId="{FC2752F6-3838-4075-9050-C8A749898BDD}" type="presOf" srcId="{DFB0DE35-C69A-4DE8-81CE-3FD6409CB734}" destId="{7C6724F1-9580-466C-80AE-98A5C42BCC2F}" srcOrd="0" destOrd="0" presId="urn:microsoft.com/office/officeart/2005/8/layout/vList2"/>
    <dgm:cxn modelId="{5F1C12F7-9DF6-48E7-92ED-BD61AE25000E}" srcId="{BCEC18BD-0116-49D5-9202-DA7F4A3C7EED}" destId="{DFB0DE35-C69A-4DE8-81CE-3FD6409CB734}" srcOrd="1" destOrd="0" parTransId="{548A1450-05A3-49B9-8EEC-E49C595017D7}" sibTransId="{3BE6E9D2-B74B-47B4-ADE0-2EAE2B17C1F5}"/>
    <dgm:cxn modelId="{780169E2-F828-4D66-AB4D-85EC41704BA8}" type="presParOf" srcId="{697191B0-C564-41A3-901B-2CC59BEA4DE5}" destId="{080C2635-AFA6-477D-A6E8-7CD779203DE1}" srcOrd="0" destOrd="0" presId="urn:microsoft.com/office/officeart/2005/8/layout/vList2"/>
    <dgm:cxn modelId="{829C3122-1F79-454C-B45A-A879B0139325}" type="presParOf" srcId="{697191B0-C564-41A3-901B-2CC59BEA4DE5}" destId="{FCF3220C-2A63-4405-A363-985B9691A2A7}" srcOrd="1" destOrd="0" presId="urn:microsoft.com/office/officeart/2005/8/layout/vList2"/>
    <dgm:cxn modelId="{D3A29601-38E3-4E36-AD5E-D5CA02E907AC}" type="presParOf" srcId="{697191B0-C564-41A3-901B-2CC59BEA4DE5}" destId="{7C6724F1-9580-466C-80AE-98A5C42BCC2F}" srcOrd="2" destOrd="0" presId="urn:microsoft.com/office/officeart/2005/8/layout/vList2"/>
    <dgm:cxn modelId="{89581847-2B20-4762-A3BA-C0BE0AB9F2BC}" type="presParOf" srcId="{697191B0-C564-41A3-901B-2CC59BEA4DE5}" destId="{7A3A3930-055D-47CD-B20F-D57DDB524011}" srcOrd="3" destOrd="0" presId="urn:microsoft.com/office/officeart/2005/8/layout/vList2"/>
    <dgm:cxn modelId="{F5DCF987-B14E-4A50-8032-E06B54E431CD}" type="presParOf" srcId="{697191B0-C564-41A3-901B-2CC59BEA4DE5}" destId="{D556F64A-4602-4807-9AA9-0A8F2B990773}" srcOrd="4" destOrd="0" presId="urn:microsoft.com/office/officeart/2005/8/layout/vList2"/>
    <dgm:cxn modelId="{AA40149E-5254-4223-AB70-608F735C701C}" type="presParOf" srcId="{697191B0-C564-41A3-901B-2CC59BEA4DE5}" destId="{F9D28A1B-B657-4893-81FA-DC959401EC0A}" srcOrd="5" destOrd="0" presId="urn:microsoft.com/office/officeart/2005/8/layout/vList2"/>
    <dgm:cxn modelId="{B4CCA9A5-9071-438D-8000-499ADF837BCC}" type="presParOf" srcId="{697191B0-C564-41A3-901B-2CC59BEA4DE5}" destId="{9416462E-BD3D-4A26-98AF-96936FAB78D7}" srcOrd="6" destOrd="0" presId="urn:microsoft.com/office/officeart/2005/8/layout/vList2"/>
    <dgm:cxn modelId="{F5928FE0-8D93-45D4-9898-A24C43A0170F}" type="presParOf" srcId="{697191B0-C564-41A3-901B-2CC59BEA4DE5}" destId="{F936569C-6C46-4C93-9D5D-8B92C986B3A1}" srcOrd="7" destOrd="0" presId="urn:microsoft.com/office/officeart/2005/8/layout/vList2"/>
    <dgm:cxn modelId="{A9A717EF-7492-4DED-B20C-1E9B4C3067DC}" type="presParOf" srcId="{697191B0-C564-41A3-901B-2CC59BEA4DE5}" destId="{E9EB1B1D-D84F-43D2-A820-0F1D198F4FDE}" srcOrd="8" destOrd="0" presId="urn:microsoft.com/office/officeart/2005/8/layout/vList2"/>
    <dgm:cxn modelId="{FB8D7787-19B4-4528-8F20-58B56E038EF2}" type="presParOf" srcId="{697191B0-C564-41A3-901B-2CC59BEA4DE5}" destId="{DABA0AF6-5DB1-43E2-95AF-10B94F15E646}" srcOrd="9" destOrd="0" presId="urn:microsoft.com/office/officeart/2005/8/layout/vList2"/>
    <dgm:cxn modelId="{BBC71D63-DEA4-421F-877E-4269016059F8}" type="presParOf" srcId="{697191B0-C564-41A3-901B-2CC59BEA4DE5}" destId="{6847EBE8-2D93-4149-A7A3-FD268A36D451}" srcOrd="10" destOrd="0" presId="urn:microsoft.com/office/officeart/2005/8/layout/vList2"/>
    <dgm:cxn modelId="{88A533CA-4D2E-46A5-A3AD-7C1010DB8E14}" type="presParOf" srcId="{697191B0-C564-41A3-901B-2CC59BEA4DE5}" destId="{56FDC798-9260-4F12-84DF-E20E217B26C9}" srcOrd="11" destOrd="0" presId="urn:microsoft.com/office/officeart/2005/8/layout/vList2"/>
    <dgm:cxn modelId="{1710A77C-1422-47E6-ACC7-B9FE38EF8FE6}" type="presParOf" srcId="{697191B0-C564-41A3-901B-2CC59BEA4DE5}" destId="{153FA5F4-B9F3-41FC-84FB-8BEF21C4686E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ACC0550E-75C8-4212-B174-C0533ECEB132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47376A-5A58-4FFD-8B4B-F9B10CDB3FD6}">
      <dgm:prSet/>
      <dgm:spPr/>
      <dgm:t>
        <a:bodyPr/>
        <a:lstStyle/>
        <a:p>
          <a:pPr rtl="0"/>
          <a:r>
            <a:rPr lang="en-US"/>
            <a:t>Clinical opportunity offered only to fellows in their 3rd year of training </a:t>
          </a:r>
          <a:endParaRPr lang="en-US" dirty="0"/>
        </a:p>
      </dgm:t>
    </dgm:pt>
    <dgm:pt modelId="{3AFF559A-D7F3-4377-A811-684FA102AB6E}" type="parTrans" cxnId="{593FAB0C-4D31-405C-B952-03C73764448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621F2C4-3C19-4DCE-B514-4F6679AE6233}" type="sibTrans" cxnId="{593FAB0C-4D31-405C-B952-03C73764448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6A2A8E65-2CD4-4FE2-A99A-6E16142976FE}">
      <dgm:prSet/>
      <dgm:spPr/>
      <dgm:t>
        <a:bodyPr/>
        <a:lstStyle/>
        <a:p>
          <a:pPr rtl="0"/>
          <a:r>
            <a:rPr lang="en-US"/>
            <a:t>Successful completion of all PEM ED clinical requirements</a:t>
          </a:r>
          <a:endParaRPr lang="en-US" dirty="0"/>
        </a:p>
      </dgm:t>
    </dgm:pt>
    <dgm:pt modelId="{AF789AB0-D97A-410B-B972-E6CE12FA51E7}" type="parTrans" cxnId="{AB28B55F-D8E8-4FFA-B57C-52EA24CB1FB1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EE91C2D-DFCE-4FB7-8547-90FFB6B841DE}" type="sibTrans" cxnId="{AB28B55F-D8E8-4FFA-B57C-52EA24CB1FB1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E0DBF4E0-FA6C-415C-BFBB-C5BE9AE9AA95}">
      <dgm:prSet/>
      <dgm:spPr/>
      <dgm:t>
        <a:bodyPr/>
        <a:lstStyle/>
        <a:p>
          <a:pPr rtl="0"/>
          <a:r>
            <a:rPr lang="en-US"/>
            <a:t>Opt to take this opportunity to maintain clinical skills during a primarily research year of their fellowship</a:t>
          </a:r>
          <a:endParaRPr lang="en-US" dirty="0"/>
        </a:p>
      </dgm:t>
    </dgm:pt>
    <dgm:pt modelId="{911508A4-96A3-426B-977A-6855C1AA9230}" type="parTrans" cxnId="{9DA2A4C5-9D9C-40EE-A742-E9256DF76EB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C32B459A-9759-46C0-A006-BEDDD2976A9B}" type="sibTrans" cxnId="{9DA2A4C5-9D9C-40EE-A742-E9256DF76EB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489075D-F04B-415F-813D-1E33BCBD3A66}">
      <dgm:prSet/>
      <dgm:spPr/>
      <dgm:t>
        <a:bodyPr/>
        <a:lstStyle/>
        <a:p>
          <a:pPr rtl="0"/>
          <a:r>
            <a:rPr lang="en-US"/>
            <a:t>Placed as second attending in TCH North/South and West Campus </a:t>
          </a:r>
          <a:endParaRPr lang="en-US" dirty="0"/>
        </a:p>
      </dgm:t>
    </dgm:pt>
    <dgm:pt modelId="{F0A493C2-D4FC-46CE-B0C7-B318E89BF192}" type="parTrans" cxnId="{E3E2FF31-38C2-4409-B504-2FBBF0BA9BAC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AF0BF8B-D226-425B-8650-0CBF008D14C7}" type="sibTrans" cxnId="{E3E2FF31-38C2-4409-B504-2FBBF0BA9BAC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54856FD-A34B-438B-8DB8-0BCBC5C64CDF}">
      <dgm:prSet/>
      <dgm:spPr/>
      <dgm:t>
        <a:bodyPr/>
        <a:lstStyle/>
        <a:p>
          <a:pPr rtl="0"/>
          <a:r>
            <a:rPr lang="en-US"/>
            <a:t>Moonlighting rates apply</a:t>
          </a:r>
          <a:endParaRPr lang="en-US" dirty="0"/>
        </a:p>
      </dgm:t>
    </dgm:pt>
    <dgm:pt modelId="{812F28F2-A987-4DEC-8DE4-315FE95108CC}" type="parTrans" cxnId="{FFC433BE-807B-4651-86B1-5C0D7F1EEB5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8651685-C8AE-427E-B437-38D7AF1FF679}" type="sibTrans" cxnId="{FFC433BE-807B-4651-86B1-5C0D7F1EEB5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DDFC9D5-5D69-43D6-A626-BD0EC295329D}" type="pres">
      <dgm:prSet presAssocID="{ACC0550E-75C8-4212-B174-C0533ECEB132}" presName="linear" presStyleCnt="0">
        <dgm:presLayoutVars>
          <dgm:animLvl val="lvl"/>
          <dgm:resizeHandles val="exact"/>
        </dgm:presLayoutVars>
      </dgm:prSet>
      <dgm:spPr/>
    </dgm:pt>
    <dgm:pt modelId="{C4679E00-17B4-4A29-94AC-2AEEC2D78AA8}" type="pres">
      <dgm:prSet presAssocID="{9847376A-5A58-4FFD-8B4B-F9B10CDB3FD6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0E29DB4A-F5AC-4C8E-8F11-30E54B24F3F8}" type="pres">
      <dgm:prSet presAssocID="{A621F2C4-3C19-4DCE-B514-4F6679AE6233}" presName="spacer" presStyleCnt="0"/>
      <dgm:spPr/>
    </dgm:pt>
    <dgm:pt modelId="{62D93A24-7172-4909-A7E6-ADF9D954BDA0}" type="pres">
      <dgm:prSet presAssocID="{6A2A8E65-2CD4-4FE2-A99A-6E16142976FE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A59533DC-7CCF-479E-A459-156A5F3798EC}" type="pres">
      <dgm:prSet presAssocID="{BEE91C2D-DFCE-4FB7-8547-90FFB6B841DE}" presName="spacer" presStyleCnt="0"/>
      <dgm:spPr/>
    </dgm:pt>
    <dgm:pt modelId="{893D8121-5931-42AD-9E5F-68A78FBF37BA}" type="pres">
      <dgm:prSet presAssocID="{E0DBF4E0-FA6C-415C-BFBB-C5BE9AE9AA95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B077A6FD-DF70-4D79-987C-2B5F73FB0E7E}" type="pres">
      <dgm:prSet presAssocID="{C32B459A-9759-46C0-A006-BEDDD2976A9B}" presName="spacer" presStyleCnt="0"/>
      <dgm:spPr/>
    </dgm:pt>
    <dgm:pt modelId="{C52A40A1-71E5-499A-B238-9D14770E4430}" type="pres">
      <dgm:prSet presAssocID="{D489075D-F04B-415F-813D-1E33BCBD3A66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57A16134-C7D8-49B6-BBA0-3AF35A4DCA4A}" type="pres">
      <dgm:prSet presAssocID="{9AF0BF8B-D226-425B-8650-0CBF008D14C7}" presName="spacer" presStyleCnt="0"/>
      <dgm:spPr/>
    </dgm:pt>
    <dgm:pt modelId="{910EC986-5861-4D0F-9009-6697E6649382}" type="pres">
      <dgm:prSet presAssocID="{A54856FD-A34B-438B-8DB8-0BCBC5C64CDF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783E4007-5738-4C5F-AE36-7E59CCE9DD9F}" type="presOf" srcId="{A54856FD-A34B-438B-8DB8-0BCBC5C64CDF}" destId="{910EC986-5861-4D0F-9009-6697E6649382}" srcOrd="0" destOrd="0" presId="urn:microsoft.com/office/officeart/2005/8/layout/vList2"/>
    <dgm:cxn modelId="{593FAB0C-4D31-405C-B952-03C737644485}" srcId="{ACC0550E-75C8-4212-B174-C0533ECEB132}" destId="{9847376A-5A58-4FFD-8B4B-F9B10CDB3FD6}" srcOrd="0" destOrd="0" parTransId="{3AFF559A-D7F3-4377-A811-684FA102AB6E}" sibTransId="{A621F2C4-3C19-4DCE-B514-4F6679AE6233}"/>
    <dgm:cxn modelId="{E3E2FF31-38C2-4409-B504-2FBBF0BA9BAC}" srcId="{ACC0550E-75C8-4212-B174-C0533ECEB132}" destId="{D489075D-F04B-415F-813D-1E33BCBD3A66}" srcOrd="3" destOrd="0" parTransId="{F0A493C2-D4FC-46CE-B0C7-B318E89BF192}" sibTransId="{9AF0BF8B-D226-425B-8650-0CBF008D14C7}"/>
    <dgm:cxn modelId="{5CBFEA45-B8EC-4E5B-9979-EC166866695A}" type="presOf" srcId="{E0DBF4E0-FA6C-415C-BFBB-C5BE9AE9AA95}" destId="{893D8121-5931-42AD-9E5F-68A78FBF37BA}" srcOrd="0" destOrd="0" presId="urn:microsoft.com/office/officeart/2005/8/layout/vList2"/>
    <dgm:cxn modelId="{AB28B55F-D8E8-4FFA-B57C-52EA24CB1FB1}" srcId="{ACC0550E-75C8-4212-B174-C0533ECEB132}" destId="{6A2A8E65-2CD4-4FE2-A99A-6E16142976FE}" srcOrd="1" destOrd="0" parTransId="{AF789AB0-D97A-410B-B972-E6CE12FA51E7}" sibTransId="{BEE91C2D-DFCE-4FB7-8547-90FFB6B841DE}"/>
    <dgm:cxn modelId="{0834AD6A-9FDC-4A93-B121-4538020BEC3F}" type="presOf" srcId="{9847376A-5A58-4FFD-8B4B-F9B10CDB3FD6}" destId="{C4679E00-17B4-4A29-94AC-2AEEC2D78AA8}" srcOrd="0" destOrd="0" presId="urn:microsoft.com/office/officeart/2005/8/layout/vList2"/>
    <dgm:cxn modelId="{58FE7298-8118-4B93-BBC4-AD936AC041D2}" type="presOf" srcId="{6A2A8E65-2CD4-4FE2-A99A-6E16142976FE}" destId="{62D93A24-7172-4909-A7E6-ADF9D954BDA0}" srcOrd="0" destOrd="0" presId="urn:microsoft.com/office/officeart/2005/8/layout/vList2"/>
    <dgm:cxn modelId="{669B0DA1-15F5-4788-9BC6-98A41CAA0760}" type="presOf" srcId="{D489075D-F04B-415F-813D-1E33BCBD3A66}" destId="{C52A40A1-71E5-499A-B238-9D14770E4430}" srcOrd="0" destOrd="0" presId="urn:microsoft.com/office/officeart/2005/8/layout/vList2"/>
    <dgm:cxn modelId="{FFC433BE-807B-4651-86B1-5C0D7F1EEB57}" srcId="{ACC0550E-75C8-4212-B174-C0533ECEB132}" destId="{A54856FD-A34B-438B-8DB8-0BCBC5C64CDF}" srcOrd="4" destOrd="0" parTransId="{812F28F2-A987-4DEC-8DE4-315FE95108CC}" sibTransId="{98651685-C8AE-427E-B437-38D7AF1FF679}"/>
    <dgm:cxn modelId="{9DA2A4C5-9D9C-40EE-A742-E9256DF76EBE}" srcId="{ACC0550E-75C8-4212-B174-C0533ECEB132}" destId="{E0DBF4E0-FA6C-415C-BFBB-C5BE9AE9AA95}" srcOrd="2" destOrd="0" parTransId="{911508A4-96A3-426B-977A-6855C1AA9230}" sibTransId="{C32B459A-9759-46C0-A006-BEDDD2976A9B}"/>
    <dgm:cxn modelId="{676EFDE8-CE65-44F4-BDA5-09C64E5B1CA3}" type="presOf" srcId="{ACC0550E-75C8-4212-B174-C0533ECEB132}" destId="{0DDFC9D5-5D69-43D6-A626-BD0EC295329D}" srcOrd="0" destOrd="0" presId="urn:microsoft.com/office/officeart/2005/8/layout/vList2"/>
    <dgm:cxn modelId="{82ECCC2A-45D5-4960-8584-0D5A6D1D46B0}" type="presParOf" srcId="{0DDFC9D5-5D69-43D6-A626-BD0EC295329D}" destId="{C4679E00-17B4-4A29-94AC-2AEEC2D78AA8}" srcOrd="0" destOrd="0" presId="urn:microsoft.com/office/officeart/2005/8/layout/vList2"/>
    <dgm:cxn modelId="{DE15C447-15C6-4148-B4D3-BBA297C2D619}" type="presParOf" srcId="{0DDFC9D5-5D69-43D6-A626-BD0EC295329D}" destId="{0E29DB4A-F5AC-4C8E-8F11-30E54B24F3F8}" srcOrd="1" destOrd="0" presId="urn:microsoft.com/office/officeart/2005/8/layout/vList2"/>
    <dgm:cxn modelId="{7BB0A7BA-955B-4540-94B9-A17CCD35958C}" type="presParOf" srcId="{0DDFC9D5-5D69-43D6-A626-BD0EC295329D}" destId="{62D93A24-7172-4909-A7E6-ADF9D954BDA0}" srcOrd="2" destOrd="0" presId="urn:microsoft.com/office/officeart/2005/8/layout/vList2"/>
    <dgm:cxn modelId="{418B0047-77F6-4068-A8BB-6D270AFCAD02}" type="presParOf" srcId="{0DDFC9D5-5D69-43D6-A626-BD0EC295329D}" destId="{A59533DC-7CCF-479E-A459-156A5F3798EC}" srcOrd="3" destOrd="0" presId="urn:microsoft.com/office/officeart/2005/8/layout/vList2"/>
    <dgm:cxn modelId="{D6F55AE1-70CB-4D8C-BBD7-C1BEFD15C016}" type="presParOf" srcId="{0DDFC9D5-5D69-43D6-A626-BD0EC295329D}" destId="{893D8121-5931-42AD-9E5F-68A78FBF37BA}" srcOrd="4" destOrd="0" presId="urn:microsoft.com/office/officeart/2005/8/layout/vList2"/>
    <dgm:cxn modelId="{4697FAFC-9D9F-442E-99F4-FF5117D46312}" type="presParOf" srcId="{0DDFC9D5-5D69-43D6-A626-BD0EC295329D}" destId="{B077A6FD-DF70-4D79-987C-2B5F73FB0E7E}" srcOrd="5" destOrd="0" presId="urn:microsoft.com/office/officeart/2005/8/layout/vList2"/>
    <dgm:cxn modelId="{CC935EB4-A5E2-45DA-9698-CCBF29C0AFC1}" type="presParOf" srcId="{0DDFC9D5-5D69-43D6-A626-BD0EC295329D}" destId="{C52A40A1-71E5-499A-B238-9D14770E4430}" srcOrd="6" destOrd="0" presId="urn:microsoft.com/office/officeart/2005/8/layout/vList2"/>
    <dgm:cxn modelId="{E6586689-CEBA-4FEC-A38E-D9D5A40F8552}" type="presParOf" srcId="{0DDFC9D5-5D69-43D6-A626-BD0EC295329D}" destId="{57A16134-C7D8-49B6-BBA0-3AF35A4DCA4A}" srcOrd="7" destOrd="0" presId="urn:microsoft.com/office/officeart/2005/8/layout/vList2"/>
    <dgm:cxn modelId="{86D8DB8A-5602-41FB-BDA8-FE582D0557C9}" type="presParOf" srcId="{0DDFC9D5-5D69-43D6-A626-BD0EC295329D}" destId="{910EC986-5861-4D0F-9009-6697E6649382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CA2A5E32-ADA6-4976-9AED-A033CCE1F5AF}" type="doc">
      <dgm:prSet loTypeId="urn:microsoft.com/office/officeart/2005/8/layout/vList5" loCatId="list" qsTypeId="urn:microsoft.com/office/officeart/2005/8/quickstyle/3d3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33F26083-FC27-4AB7-AEB0-92460313A034}">
      <dgm:prSet/>
      <dgm:spPr/>
      <dgm:t>
        <a:bodyPr/>
        <a:lstStyle/>
        <a:p>
          <a:pPr rtl="0"/>
          <a:r>
            <a:rPr lang="en-US" dirty="0"/>
            <a:t>Complete 2136 clinical hours in the PEM ED setting in first 2 years of fellowship</a:t>
          </a:r>
        </a:p>
      </dgm:t>
    </dgm:pt>
    <dgm:pt modelId="{280E2B30-552D-4544-A082-E831DDBD81FB}" type="parTrans" cxnId="{93A4BB2D-5E54-43DF-80CA-84441E596EB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A372934-C825-4105-87BE-D85FB061BD02}" type="sibTrans" cxnId="{93A4BB2D-5E54-43DF-80CA-84441E596EB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CCCE452-4D70-4FE3-857F-64141C317793}">
      <dgm:prSet/>
      <dgm:spPr/>
      <dgm:t>
        <a:bodyPr/>
        <a:lstStyle/>
        <a:p>
          <a:pPr rtl="0"/>
          <a:r>
            <a:rPr lang="en-US" dirty="0"/>
            <a:t>Weekdays: 6a-2p, 2p-10p, 6p-2a, 10p-6a</a:t>
          </a:r>
        </a:p>
      </dgm:t>
    </dgm:pt>
    <dgm:pt modelId="{3CA12AEA-5CE7-4E2B-999E-818E4EE8D3FB}" type="parTrans" cxnId="{C499F89A-B22F-4768-9E54-D5B83B1470E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272DAE4-420E-44EF-ADBF-BE77D06788BB}" type="sibTrans" cxnId="{C499F89A-B22F-4768-9E54-D5B83B1470E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27AC39C-307D-48A9-9A32-FE1B0D6CE272}">
      <dgm:prSet/>
      <dgm:spPr/>
      <dgm:t>
        <a:bodyPr/>
        <a:lstStyle/>
        <a:p>
          <a:pPr rtl="0"/>
          <a:r>
            <a:rPr lang="en-US" dirty="0"/>
            <a:t>Tues medical student teaching shifts: 1p-6p</a:t>
          </a:r>
        </a:p>
      </dgm:t>
    </dgm:pt>
    <dgm:pt modelId="{3B05BCFB-5622-450A-B2E0-1A6D98998BA6}" type="parTrans" cxnId="{85C4E1EA-BAFA-494D-AF73-AA6C7FDF075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6BC8986-C3ED-4030-A4E6-4AE83105B1F1}" type="sibTrans" cxnId="{85C4E1EA-BAFA-494D-AF73-AA6C7FDF075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E103494-2584-4B52-9E09-440063A437CA}">
      <dgm:prSet/>
      <dgm:spPr/>
      <dgm:t>
        <a:bodyPr/>
        <a:lstStyle/>
        <a:p>
          <a:pPr rtl="0"/>
          <a:r>
            <a:rPr lang="en-US" dirty="0"/>
            <a:t>Weekends and holidays: 6a-4p, 4p-2a, 8p-6a</a:t>
          </a:r>
        </a:p>
      </dgm:t>
    </dgm:pt>
    <dgm:pt modelId="{EB376695-3C19-4B1D-980A-9EB84D856528}" type="parTrans" cxnId="{7ED9E330-5A86-4D64-9283-1BFBBFB8794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0ACCE77-34AA-497A-B91B-F8A0EEB52C37}" type="sibTrans" cxnId="{7ED9E330-5A86-4D64-9283-1BFBBFB8794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632DE35-C60A-41F1-B8E2-030A7B8EEA0A}">
      <dgm:prSet/>
      <dgm:spPr/>
      <dgm:t>
        <a:bodyPr/>
        <a:lstStyle/>
        <a:p>
          <a:pPr rtl="0"/>
          <a:r>
            <a:rPr lang="en-US" dirty="0"/>
            <a:t>TCH </a:t>
          </a:r>
        </a:p>
        <a:p>
          <a:pPr rtl="0"/>
          <a:r>
            <a:rPr lang="en-US" dirty="0"/>
            <a:t>West Campus</a:t>
          </a:r>
        </a:p>
      </dgm:t>
    </dgm:pt>
    <dgm:pt modelId="{13B87DB0-AA2F-42F0-BE2A-BF97E97D10A9}" type="parTrans" cxnId="{72D75B1B-F952-4015-BD10-95CF01D90562}">
      <dgm:prSet/>
      <dgm:spPr/>
      <dgm:t>
        <a:bodyPr/>
        <a:lstStyle/>
        <a:p>
          <a:endParaRPr lang="en-US"/>
        </a:p>
      </dgm:t>
    </dgm:pt>
    <dgm:pt modelId="{4A9869AB-0E17-4A6D-84F5-C292528B963A}" type="sibTrans" cxnId="{72D75B1B-F952-4015-BD10-95CF01D90562}">
      <dgm:prSet/>
      <dgm:spPr/>
      <dgm:t>
        <a:bodyPr/>
        <a:lstStyle/>
        <a:p>
          <a:endParaRPr lang="en-US"/>
        </a:p>
      </dgm:t>
    </dgm:pt>
    <dgm:pt modelId="{42E601D1-2D69-4706-B625-D9562128F495}">
      <dgm:prSet/>
      <dgm:spPr/>
      <dgm:t>
        <a:bodyPr/>
        <a:lstStyle/>
        <a:p>
          <a:pPr rtl="0"/>
          <a:r>
            <a:rPr lang="en-US" dirty="0"/>
            <a:t>Weekdays: 3pm-11pm</a:t>
          </a:r>
        </a:p>
      </dgm:t>
    </dgm:pt>
    <dgm:pt modelId="{99E43F17-9238-4893-8259-E158442D1F3D}" type="parTrans" cxnId="{3B029CFE-CF5E-4802-A01C-C9E5E30DE1AF}">
      <dgm:prSet/>
      <dgm:spPr/>
      <dgm:t>
        <a:bodyPr/>
        <a:lstStyle/>
        <a:p>
          <a:endParaRPr lang="en-US"/>
        </a:p>
      </dgm:t>
    </dgm:pt>
    <dgm:pt modelId="{807FA4F6-132C-4EA6-8571-5FCF6324EEAC}" type="sibTrans" cxnId="{3B029CFE-CF5E-4802-A01C-C9E5E30DE1AF}">
      <dgm:prSet/>
      <dgm:spPr/>
      <dgm:t>
        <a:bodyPr/>
        <a:lstStyle/>
        <a:p>
          <a:endParaRPr lang="en-US"/>
        </a:p>
      </dgm:t>
    </dgm:pt>
    <dgm:pt modelId="{CCD81C33-D143-4351-8599-1EBC5A31D2E2}">
      <dgm:prSet/>
      <dgm:spPr/>
      <dgm:t>
        <a:bodyPr/>
        <a:lstStyle/>
        <a:p>
          <a:pPr rtl="0"/>
          <a:r>
            <a:rPr lang="en-US" dirty="0"/>
            <a:t>Weekends and holidays: 3pm-1am</a:t>
          </a:r>
        </a:p>
      </dgm:t>
    </dgm:pt>
    <dgm:pt modelId="{C17A3413-0408-4B9D-9D93-80C8014A5BC6}" type="parTrans" cxnId="{7EBBE5DE-57B3-4212-BFE7-97039156C129}">
      <dgm:prSet/>
      <dgm:spPr/>
      <dgm:t>
        <a:bodyPr/>
        <a:lstStyle/>
        <a:p>
          <a:endParaRPr lang="en-US"/>
        </a:p>
      </dgm:t>
    </dgm:pt>
    <dgm:pt modelId="{D4CE9A22-1F76-4975-88AD-ACA76F6FB8AF}" type="sibTrans" cxnId="{7EBBE5DE-57B3-4212-BFE7-97039156C129}">
      <dgm:prSet/>
      <dgm:spPr/>
      <dgm:t>
        <a:bodyPr/>
        <a:lstStyle/>
        <a:p>
          <a:endParaRPr lang="en-US"/>
        </a:p>
      </dgm:t>
    </dgm:pt>
    <dgm:pt modelId="{8395A2B2-A24D-454F-870F-CEE14DF2A4B3}">
      <dgm:prSet/>
      <dgm:spPr/>
      <dgm:t>
        <a:bodyPr/>
        <a:lstStyle/>
        <a:p>
          <a:pPr rtl="0"/>
          <a:r>
            <a:rPr lang="en-US" dirty="0"/>
            <a:t>TCH </a:t>
          </a:r>
        </a:p>
        <a:p>
          <a:pPr rtl="0"/>
          <a:r>
            <a:rPr lang="en-US" dirty="0"/>
            <a:t>Main EC</a:t>
          </a:r>
        </a:p>
      </dgm:t>
    </dgm:pt>
    <dgm:pt modelId="{FB6F4D00-6247-40A1-AB5B-6866D2E4C384}" type="sibTrans" cxnId="{B498180D-3F30-44A7-9E73-2BB144D4FDF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2240B11-0EF9-4CFA-8242-DBAD1047AC97}" type="parTrans" cxnId="{B498180D-3F30-44A7-9E73-2BB144D4FDF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5017A92-3D28-495B-85F5-30A899E69DBA}" type="pres">
      <dgm:prSet presAssocID="{CA2A5E32-ADA6-4976-9AED-A033CCE1F5AF}" presName="Name0" presStyleCnt="0">
        <dgm:presLayoutVars>
          <dgm:dir/>
          <dgm:animLvl val="lvl"/>
          <dgm:resizeHandles val="exact"/>
        </dgm:presLayoutVars>
      </dgm:prSet>
      <dgm:spPr/>
    </dgm:pt>
    <dgm:pt modelId="{8E31DDFC-15DC-4FFA-B648-8124CB66F661}" type="pres">
      <dgm:prSet presAssocID="{33F26083-FC27-4AB7-AEB0-92460313A034}" presName="linNode" presStyleCnt="0"/>
      <dgm:spPr/>
    </dgm:pt>
    <dgm:pt modelId="{09A06E7A-E6E9-46EF-8343-7B0F32EE8448}" type="pres">
      <dgm:prSet presAssocID="{33F26083-FC27-4AB7-AEB0-92460313A034}" presName="parentText" presStyleLbl="node1" presStyleIdx="0" presStyleCnt="3" custScaleX="147443" custLinFactNeighborX="53564" custLinFactNeighborY="5073">
        <dgm:presLayoutVars>
          <dgm:chMax val="1"/>
          <dgm:bulletEnabled val="1"/>
        </dgm:presLayoutVars>
      </dgm:prSet>
      <dgm:spPr/>
    </dgm:pt>
    <dgm:pt modelId="{AAED6FFE-05C4-4286-BD40-62E8181EAE78}" type="pres">
      <dgm:prSet presAssocID="{2A372934-C825-4105-87BE-D85FB061BD02}" presName="sp" presStyleCnt="0"/>
      <dgm:spPr/>
    </dgm:pt>
    <dgm:pt modelId="{64CD7B7D-A821-491B-AC88-8A1CE703700D}" type="pres">
      <dgm:prSet presAssocID="{8395A2B2-A24D-454F-870F-CEE14DF2A4B3}" presName="linNode" presStyleCnt="0"/>
      <dgm:spPr/>
    </dgm:pt>
    <dgm:pt modelId="{AC9FB8E2-87AD-4399-9BDC-CC1E759D35D1}" type="pres">
      <dgm:prSet presAssocID="{8395A2B2-A24D-454F-870F-CEE14DF2A4B3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F33FA023-4A47-451D-A76A-9CD329C9DDCC}" type="pres">
      <dgm:prSet presAssocID="{8395A2B2-A24D-454F-870F-CEE14DF2A4B3}" presName="descendantText" presStyleLbl="alignAccFollowNode1" presStyleIdx="0" presStyleCnt="2">
        <dgm:presLayoutVars>
          <dgm:bulletEnabled val="1"/>
        </dgm:presLayoutVars>
      </dgm:prSet>
      <dgm:spPr/>
    </dgm:pt>
    <dgm:pt modelId="{94CCE92A-6E58-4381-9724-34E07D530055}" type="pres">
      <dgm:prSet presAssocID="{FB6F4D00-6247-40A1-AB5B-6866D2E4C384}" presName="sp" presStyleCnt="0"/>
      <dgm:spPr/>
    </dgm:pt>
    <dgm:pt modelId="{0E4F7C83-D04E-4EA0-BF45-DC102C5042E6}" type="pres">
      <dgm:prSet presAssocID="{5632DE35-C60A-41F1-B8E2-030A7B8EEA0A}" presName="linNode" presStyleCnt="0"/>
      <dgm:spPr/>
    </dgm:pt>
    <dgm:pt modelId="{129F235D-737F-434D-9605-9FF0296B40D4}" type="pres">
      <dgm:prSet presAssocID="{5632DE35-C60A-41F1-B8E2-030A7B8EEA0A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5F43C4C6-3F9D-4267-87A8-50A24E11557F}" type="pres">
      <dgm:prSet presAssocID="{5632DE35-C60A-41F1-B8E2-030A7B8EEA0A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B498180D-3F30-44A7-9E73-2BB144D4FDFA}" srcId="{CA2A5E32-ADA6-4976-9AED-A033CCE1F5AF}" destId="{8395A2B2-A24D-454F-870F-CEE14DF2A4B3}" srcOrd="1" destOrd="0" parTransId="{52240B11-0EF9-4CFA-8242-DBAD1047AC97}" sibTransId="{FB6F4D00-6247-40A1-AB5B-6866D2E4C384}"/>
    <dgm:cxn modelId="{0F0EEC19-5C85-45EA-B506-0800A800445F}" type="presOf" srcId="{DCCCE452-4D70-4FE3-857F-64141C317793}" destId="{F33FA023-4A47-451D-A76A-9CD329C9DDCC}" srcOrd="0" destOrd="0" presId="urn:microsoft.com/office/officeart/2005/8/layout/vList5"/>
    <dgm:cxn modelId="{72D75B1B-F952-4015-BD10-95CF01D90562}" srcId="{CA2A5E32-ADA6-4976-9AED-A033CCE1F5AF}" destId="{5632DE35-C60A-41F1-B8E2-030A7B8EEA0A}" srcOrd="2" destOrd="0" parTransId="{13B87DB0-AA2F-42F0-BE2A-BF97E97D10A9}" sibTransId="{4A9869AB-0E17-4A6D-84F5-C292528B963A}"/>
    <dgm:cxn modelId="{42368021-25A0-4714-AF6E-FBBBE49DED9D}" type="presOf" srcId="{33F26083-FC27-4AB7-AEB0-92460313A034}" destId="{09A06E7A-E6E9-46EF-8343-7B0F32EE8448}" srcOrd="0" destOrd="0" presId="urn:microsoft.com/office/officeart/2005/8/layout/vList5"/>
    <dgm:cxn modelId="{348B9421-4702-40BD-B05C-A19727E79601}" type="presOf" srcId="{4E103494-2584-4B52-9E09-440063A437CA}" destId="{F33FA023-4A47-451D-A76A-9CD329C9DDCC}" srcOrd="0" destOrd="2" presId="urn:microsoft.com/office/officeart/2005/8/layout/vList5"/>
    <dgm:cxn modelId="{DA725B29-BC2E-40EE-8C64-45DDA0B6D1FD}" type="presOf" srcId="{CCD81C33-D143-4351-8599-1EBC5A31D2E2}" destId="{5F43C4C6-3F9D-4267-87A8-50A24E11557F}" srcOrd="0" destOrd="1" presId="urn:microsoft.com/office/officeart/2005/8/layout/vList5"/>
    <dgm:cxn modelId="{93A4BB2D-5E54-43DF-80CA-84441E596EBA}" srcId="{CA2A5E32-ADA6-4976-9AED-A033CCE1F5AF}" destId="{33F26083-FC27-4AB7-AEB0-92460313A034}" srcOrd="0" destOrd="0" parTransId="{280E2B30-552D-4544-A082-E831DDBD81FB}" sibTransId="{2A372934-C825-4105-87BE-D85FB061BD02}"/>
    <dgm:cxn modelId="{7ED9E330-5A86-4D64-9283-1BFBBFB8794F}" srcId="{8395A2B2-A24D-454F-870F-CEE14DF2A4B3}" destId="{4E103494-2584-4B52-9E09-440063A437CA}" srcOrd="2" destOrd="0" parTransId="{EB376695-3C19-4B1D-980A-9EB84D856528}" sibTransId="{C0ACCE77-34AA-497A-B91B-F8A0EEB52C37}"/>
    <dgm:cxn modelId="{3C2D3837-B6C5-47CF-9DD5-72B266AEB4AF}" type="presOf" srcId="{CA2A5E32-ADA6-4976-9AED-A033CCE1F5AF}" destId="{35017A92-3D28-495B-85F5-30A899E69DBA}" srcOrd="0" destOrd="0" presId="urn:microsoft.com/office/officeart/2005/8/layout/vList5"/>
    <dgm:cxn modelId="{77F7903B-CC82-476F-B164-FEB6CEEA4731}" type="presOf" srcId="{5632DE35-C60A-41F1-B8E2-030A7B8EEA0A}" destId="{129F235D-737F-434D-9605-9FF0296B40D4}" srcOrd="0" destOrd="0" presId="urn:microsoft.com/office/officeart/2005/8/layout/vList5"/>
    <dgm:cxn modelId="{C7ED7652-5AE1-4BF4-A02B-17132037DC23}" type="presOf" srcId="{42E601D1-2D69-4706-B625-D9562128F495}" destId="{5F43C4C6-3F9D-4267-87A8-50A24E11557F}" srcOrd="0" destOrd="0" presId="urn:microsoft.com/office/officeart/2005/8/layout/vList5"/>
    <dgm:cxn modelId="{3E4FBB65-7327-4C2F-BA6E-03D8DF2BAEE0}" type="presOf" srcId="{8395A2B2-A24D-454F-870F-CEE14DF2A4B3}" destId="{AC9FB8E2-87AD-4399-9BDC-CC1E759D35D1}" srcOrd="0" destOrd="0" presId="urn:microsoft.com/office/officeart/2005/8/layout/vList5"/>
    <dgm:cxn modelId="{C499F89A-B22F-4768-9E54-D5B83B1470E7}" srcId="{8395A2B2-A24D-454F-870F-CEE14DF2A4B3}" destId="{DCCCE452-4D70-4FE3-857F-64141C317793}" srcOrd="0" destOrd="0" parTransId="{3CA12AEA-5CE7-4E2B-999E-818E4EE8D3FB}" sibTransId="{7272DAE4-420E-44EF-ADBF-BE77D06788BB}"/>
    <dgm:cxn modelId="{0777F39C-0671-44CA-9D7B-64AEE6A21B33}" type="presOf" srcId="{727AC39C-307D-48A9-9A32-FE1B0D6CE272}" destId="{F33FA023-4A47-451D-A76A-9CD329C9DDCC}" srcOrd="0" destOrd="1" presId="urn:microsoft.com/office/officeart/2005/8/layout/vList5"/>
    <dgm:cxn modelId="{7EBBE5DE-57B3-4212-BFE7-97039156C129}" srcId="{5632DE35-C60A-41F1-B8E2-030A7B8EEA0A}" destId="{CCD81C33-D143-4351-8599-1EBC5A31D2E2}" srcOrd="1" destOrd="0" parTransId="{C17A3413-0408-4B9D-9D93-80C8014A5BC6}" sibTransId="{D4CE9A22-1F76-4975-88AD-ACA76F6FB8AF}"/>
    <dgm:cxn modelId="{85C4E1EA-BAFA-494D-AF73-AA6C7FDF075A}" srcId="{8395A2B2-A24D-454F-870F-CEE14DF2A4B3}" destId="{727AC39C-307D-48A9-9A32-FE1B0D6CE272}" srcOrd="1" destOrd="0" parTransId="{3B05BCFB-5622-450A-B2E0-1A6D98998BA6}" sibTransId="{E6BC8986-C3ED-4030-A4E6-4AE83105B1F1}"/>
    <dgm:cxn modelId="{3B029CFE-CF5E-4802-A01C-C9E5E30DE1AF}" srcId="{5632DE35-C60A-41F1-B8E2-030A7B8EEA0A}" destId="{42E601D1-2D69-4706-B625-D9562128F495}" srcOrd="0" destOrd="0" parTransId="{99E43F17-9238-4893-8259-E158442D1F3D}" sibTransId="{807FA4F6-132C-4EA6-8571-5FCF6324EEAC}"/>
    <dgm:cxn modelId="{A4231533-F5CF-408F-A9DF-A23F3179570A}" type="presParOf" srcId="{35017A92-3D28-495B-85F5-30A899E69DBA}" destId="{8E31DDFC-15DC-4FFA-B648-8124CB66F661}" srcOrd="0" destOrd="0" presId="urn:microsoft.com/office/officeart/2005/8/layout/vList5"/>
    <dgm:cxn modelId="{2BE1ADA4-B3A8-43D1-B3BD-4160640EBBCB}" type="presParOf" srcId="{8E31DDFC-15DC-4FFA-B648-8124CB66F661}" destId="{09A06E7A-E6E9-46EF-8343-7B0F32EE8448}" srcOrd="0" destOrd="0" presId="urn:microsoft.com/office/officeart/2005/8/layout/vList5"/>
    <dgm:cxn modelId="{FF67DC00-0475-4D62-AF09-E23B4C58A528}" type="presParOf" srcId="{35017A92-3D28-495B-85F5-30A899E69DBA}" destId="{AAED6FFE-05C4-4286-BD40-62E8181EAE78}" srcOrd="1" destOrd="0" presId="urn:microsoft.com/office/officeart/2005/8/layout/vList5"/>
    <dgm:cxn modelId="{BEDAAD5B-463A-4F22-9F58-A61BB4E467F4}" type="presParOf" srcId="{35017A92-3D28-495B-85F5-30A899E69DBA}" destId="{64CD7B7D-A821-491B-AC88-8A1CE703700D}" srcOrd="2" destOrd="0" presId="urn:microsoft.com/office/officeart/2005/8/layout/vList5"/>
    <dgm:cxn modelId="{EC3ADBC5-A3DE-44A5-9A2E-C332A154520E}" type="presParOf" srcId="{64CD7B7D-A821-491B-AC88-8A1CE703700D}" destId="{AC9FB8E2-87AD-4399-9BDC-CC1E759D35D1}" srcOrd="0" destOrd="0" presId="urn:microsoft.com/office/officeart/2005/8/layout/vList5"/>
    <dgm:cxn modelId="{CA54CEBD-2DDE-4537-B1FF-37DEDD09A358}" type="presParOf" srcId="{64CD7B7D-A821-491B-AC88-8A1CE703700D}" destId="{F33FA023-4A47-451D-A76A-9CD329C9DDCC}" srcOrd="1" destOrd="0" presId="urn:microsoft.com/office/officeart/2005/8/layout/vList5"/>
    <dgm:cxn modelId="{EB499296-A2E1-4661-874C-F2A375470B4A}" type="presParOf" srcId="{35017A92-3D28-495B-85F5-30A899E69DBA}" destId="{94CCE92A-6E58-4381-9724-34E07D530055}" srcOrd="3" destOrd="0" presId="urn:microsoft.com/office/officeart/2005/8/layout/vList5"/>
    <dgm:cxn modelId="{B41EB353-A74E-4260-BFA7-1438004EA040}" type="presParOf" srcId="{35017A92-3D28-495B-85F5-30A899E69DBA}" destId="{0E4F7C83-D04E-4EA0-BF45-DC102C5042E6}" srcOrd="4" destOrd="0" presId="urn:microsoft.com/office/officeart/2005/8/layout/vList5"/>
    <dgm:cxn modelId="{0E942711-AFFC-47AE-B0E8-6CD877FAB307}" type="presParOf" srcId="{0E4F7C83-D04E-4EA0-BF45-DC102C5042E6}" destId="{129F235D-737F-434D-9605-9FF0296B40D4}" srcOrd="0" destOrd="0" presId="urn:microsoft.com/office/officeart/2005/8/layout/vList5"/>
    <dgm:cxn modelId="{BBC174A3-51A6-40DE-9C03-CB810AA54B9F}" type="presParOf" srcId="{0E4F7C83-D04E-4EA0-BF45-DC102C5042E6}" destId="{5F43C4C6-3F9D-4267-87A8-50A24E11557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903E1E0-F7FA-437B-A14C-5AB13C528BAF}" type="doc">
      <dgm:prSet loTypeId="urn:microsoft.com/office/officeart/2005/8/layout/vList5" loCatId="list" qsTypeId="urn:microsoft.com/office/officeart/2005/8/quickstyle/3d3" qsCatId="3D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0F038507-D762-4D03-996E-A209B00C6E1C}">
      <dgm:prSet/>
      <dgm:spPr/>
      <dgm:t>
        <a:bodyPr/>
        <a:lstStyle/>
        <a:p>
          <a:pPr rtl="0"/>
          <a:r>
            <a:rPr lang="en-US" dirty="0"/>
            <a:t>Combined clinical and research time for fellows, based on a 50 hour work week </a:t>
          </a:r>
        </a:p>
      </dgm:t>
    </dgm:pt>
    <dgm:pt modelId="{0471C9BD-87C8-4DDA-AA5A-AA9B9C68350E}" type="parTrans" cxnId="{B498C1CE-8313-4F22-BAC2-65464CF4041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830AEE64-75D6-4DE2-83CF-0CF76CC761CB}" type="sibTrans" cxnId="{B498C1CE-8313-4F22-BAC2-65464CF4041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FDAB331-A41A-4A0C-96C3-9E9C71FC3639}">
      <dgm:prSet/>
      <dgm:spPr/>
      <dgm:t>
        <a:bodyPr/>
        <a:lstStyle/>
        <a:p>
          <a:pPr rtl="0"/>
          <a:r>
            <a:rPr lang="en-US"/>
            <a:t>Pediatric trained fellows </a:t>
          </a:r>
          <a:endParaRPr lang="en-US" dirty="0"/>
        </a:p>
      </dgm:t>
    </dgm:pt>
    <dgm:pt modelId="{6F8522E3-F119-4C4A-8F2A-481E9FCBEE6D}" type="parTrans" cxnId="{75497F63-796D-46DE-9038-3CF9EF7BBF5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816DACC-8BB7-4B58-B7A0-6AFD945CAD82}" type="sibTrans" cxnId="{75497F63-796D-46DE-9038-3CF9EF7BBF5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1E57784-7649-4A5F-986D-99C9770233CA}">
      <dgm:prSet/>
      <dgm:spPr/>
      <dgm:t>
        <a:bodyPr/>
        <a:lstStyle/>
        <a:p>
          <a:pPr rtl="0"/>
          <a:r>
            <a:rPr lang="en-US" dirty="0"/>
            <a:t>1</a:t>
          </a:r>
          <a:r>
            <a:rPr lang="en-US" baseline="30000" dirty="0"/>
            <a:t>st</a:t>
          </a:r>
          <a:r>
            <a:rPr lang="en-US" dirty="0"/>
            <a:t> year &amp; 2</a:t>
          </a:r>
          <a:r>
            <a:rPr lang="en-US" baseline="30000" dirty="0"/>
            <a:t>nd</a:t>
          </a:r>
          <a:r>
            <a:rPr lang="en-US" dirty="0"/>
            <a:t> year - 65% clinical and 35% research</a:t>
          </a:r>
        </a:p>
      </dgm:t>
    </dgm:pt>
    <dgm:pt modelId="{BFDB1B84-22E7-42CE-A317-5D12FF530CD1}" type="parTrans" cxnId="{442DDC06-727B-49A2-960F-EB740DB81C36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EAC4E1C-C637-4A6D-9A21-5FB18CBF8126}" type="sibTrans" cxnId="{442DDC06-727B-49A2-960F-EB740DB81C36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CA2D4ED2-9A15-494C-A516-479A1EA29FE1}">
      <dgm:prSet/>
      <dgm:spPr/>
      <dgm:t>
        <a:bodyPr/>
        <a:lstStyle/>
        <a:p>
          <a:pPr rtl="0"/>
          <a:r>
            <a:rPr lang="en-US"/>
            <a:t>3rd year - 25% clinical and 75% research if they choose to take the Extra Hours Experience; 100% research if approved not to take the Extra Hours Experience.</a:t>
          </a:r>
          <a:endParaRPr lang="en-US" dirty="0"/>
        </a:p>
      </dgm:t>
    </dgm:pt>
    <dgm:pt modelId="{F8DB1106-E1B0-43D9-8726-959016BC98E8}" type="parTrans" cxnId="{5099F205-DC2C-4253-A8EB-E8E06DF6290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7532FDFF-214F-4F54-BC21-F1296279C274}" type="sibTrans" cxnId="{5099F205-DC2C-4253-A8EB-E8E06DF6290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B6F1D43-6A0C-4845-9943-D8751DD4693A}">
      <dgm:prSet/>
      <dgm:spPr/>
      <dgm:t>
        <a:bodyPr/>
        <a:lstStyle/>
        <a:p>
          <a:pPr rtl="0"/>
          <a:r>
            <a:rPr lang="en-US"/>
            <a:t>Emergency medicine    trained fellows</a:t>
          </a:r>
          <a:endParaRPr lang="en-US" dirty="0"/>
        </a:p>
      </dgm:t>
    </dgm:pt>
    <dgm:pt modelId="{CC802C28-4D65-46DE-BC48-7BF6ADFEAF16}" type="parTrans" cxnId="{6C70250B-00B6-46A7-BDBE-024664BFCF7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38253488-9821-473C-9C00-F922134FE62B}" type="sibTrans" cxnId="{6C70250B-00B6-46A7-BDBE-024664BFCF7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F9F91F9-DAB5-42C4-A545-CB55DE9AEF4F}">
      <dgm:prSet/>
      <dgm:spPr/>
      <dgm:t>
        <a:bodyPr/>
        <a:lstStyle/>
        <a:p>
          <a:pPr rtl="0"/>
          <a:r>
            <a:rPr lang="en-US" dirty="0"/>
            <a:t>65% clinical and 35% research both years.  </a:t>
          </a:r>
        </a:p>
      </dgm:t>
    </dgm:pt>
    <dgm:pt modelId="{C1CA3294-488E-418B-89F2-09D8597FEE33}" type="parTrans" cxnId="{AC838995-9BF2-4553-9D34-5F30E2D75B9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DD9169D-781E-4096-AD2B-C1B340754B13}" type="sibTrans" cxnId="{AC838995-9BF2-4553-9D34-5F30E2D75B9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BAD2F4D-A046-4F11-A9AA-E683F7ED7729}">
      <dgm:prSet/>
      <dgm:spPr/>
      <dgm:t>
        <a:bodyPr/>
        <a:lstStyle/>
        <a:p>
          <a:pPr rtl="0"/>
          <a:r>
            <a:rPr lang="en-US"/>
            <a:t>Given the time constraints modifications to the requirement of scholarly activity during fellowship are made based on individual fellows’ needs and interests.</a:t>
          </a:r>
          <a:endParaRPr lang="en-US" dirty="0"/>
        </a:p>
      </dgm:t>
    </dgm:pt>
    <dgm:pt modelId="{CABCAE9A-9D0A-4C87-B615-2DB726673D6F}" type="parTrans" cxnId="{29D667AA-0C00-43FC-950B-08AB1D6CCF5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8843A5F9-5E1A-4EC8-B839-BE89ADADD857}" type="sibTrans" cxnId="{29D667AA-0C00-43FC-950B-08AB1D6CCF5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F3F0FCA-1409-433D-94C2-CC8A9A24AFA5}" type="pres">
      <dgm:prSet presAssocID="{0903E1E0-F7FA-437B-A14C-5AB13C528BAF}" presName="Name0" presStyleCnt="0">
        <dgm:presLayoutVars>
          <dgm:dir/>
          <dgm:animLvl val="lvl"/>
          <dgm:resizeHandles val="exact"/>
        </dgm:presLayoutVars>
      </dgm:prSet>
      <dgm:spPr/>
    </dgm:pt>
    <dgm:pt modelId="{D56A1A38-5C83-4347-8954-DBA94B565175}" type="pres">
      <dgm:prSet presAssocID="{0F038507-D762-4D03-996E-A209B00C6E1C}" presName="linNode" presStyleCnt="0"/>
      <dgm:spPr/>
    </dgm:pt>
    <dgm:pt modelId="{7403213E-94E8-4ABF-8416-B4C77C832269}" type="pres">
      <dgm:prSet presAssocID="{0F038507-D762-4D03-996E-A209B00C6E1C}" presName="parentText" presStyleLbl="node1" presStyleIdx="0" presStyleCnt="3" custScaleX="185033" custLinFactNeighborX="56689" custLinFactNeighborY="-151">
        <dgm:presLayoutVars>
          <dgm:chMax val="1"/>
          <dgm:bulletEnabled val="1"/>
        </dgm:presLayoutVars>
      </dgm:prSet>
      <dgm:spPr/>
    </dgm:pt>
    <dgm:pt modelId="{E7FEF4E4-9A3F-48BA-8A09-E5E5144AB0D8}" type="pres">
      <dgm:prSet presAssocID="{830AEE64-75D6-4DE2-83CF-0CF76CC761CB}" presName="sp" presStyleCnt="0"/>
      <dgm:spPr/>
    </dgm:pt>
    <dgm:pt modelId="{00E667C6-5C76-498A-BC86-979639058A9C}" type="pres">
      <dgm:prSet presAssocID="{BFDAB331-A41A-4A0C-96C3-9E9C71FC3639}" presName="linNode" presStyleCnt="0"/>
      <dgm:spPr/>
    </dgm:pt>
    <dgm:pt modelId="{F6A8F14F-9155-4E80-86C3-82CA6E62E797}" type="pres">
      <dgm:prSet presAssocID="{BFDAB331-A41A-4A0C-96C3-9E9C71FC3639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8C79CD97-46CF-46A9-B413-D1150F34989E}" type="pres">
      <dgm:prSet presAssocID="{BFDAB331-A41A-4A0C-96C3-9E9C71FC3639}" presName="descendantText" presStyleLbl="alignAccFollowNode1" presStyleIdx="0" presStyleCnt="2">
        <dgm:presLayoutVars>
          <dgm:bulletEnabled val="1"/>
        </dgm:presLayoutVars>
      </dgm:prSet>
      <dgm:spPr/>
    </dgm:pt>
    <dgm:pt modelId="{FB74E2BA-B330-4C48-A21A-3A69FD58E8F2}" type="pres">
      <dgm:prSet presAssocID="{1816DACC-8BB7-4B58-B7A0-6AFD945CAD82}" presName="sp" presStyleCnt="0"/>
      <dgm:spPr/>
    </dgm:pt>
    <dgm:pt modelId="{56C489D0-8B35-4AF5-B204-0FB92EDC6846}" type="pres">
      <dgm:prSet presAssocID="{AB6F1D43-6A0C-4845-9943-D8751DD4693A}" presName="linNode" presStyleCnt="0"/>
      <dgm:spPr/>
    </dgm:pt>
    <dgm:pt modelId="{3E98F9E9-B7FF-4A28-89B8-1E4AF03D6684}" type="pres">
      <dgm:prSet presAssocID="{AB6F1D43-6A0C-4845-9943-D8751DD4693A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2755C251-0D30-4A3A-AFD7-F85FA15A07E8}" type="pres">
      <dgm:prSet presAssocID="{AB6F1D43-6A0C-4845-9943-D8751DD4693A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5099F205-DC2C-4253-A8EB-E8E06DF62907}" srcId="{BFDAB331-A41A-4A0C-96C3-9E9C71FC3639}" destId="{CA2D4ED2-9A15-494C-A516-479A1EA29FE1}" srcOrd="1" destOrd="0" parTransId="{F8DB1106-E1B0-43D9-8726-959016BC98E8}" sibTransId="{7532FDFF-214F-4F54-BC21-F1296279C274}"/>
    <dgm:cxn modelId="{442DDC06-727B-49A2-960F-EB740DB81C36}" srcId="{BFDAB331-A41A-4A0C-96C3-9E9C71FC3639}" destId="{11E57784-7649-4A5F-986D-99C9770233CA}" srcOrd="0" destOrd="0" parTransId="{BFDB1B84-22E7-42CE-A317-5D12FF530CD1}" sibTransId="{9EAC4E1C-C637-4A6D-9A21-5FB18CBF8126}"/>
    <dgm:cxn modelId="{6C70250B-00B6-46A7-BDBE-024664BFCF74}" srcId="{0903E1E0-F7FA-437B-A14C-5AB13C528BAF}" destId="{AB6F1D43-6A0C-4845-9943-D8751DD4693A}" srcOrd="2" destOrd="0" parTransId="{CC802C28-4D65-46DE-BC48-7BF6ADFEAF16}" sibTransId="{38253488-9821-473C-9C00-F922134FE62B}"/>
    <dgm:cxn modelId="{82C41326-F709-453B-8DBD-9ABD2B3815E0}" type="presOf" srcId="{9F9F91F9-DAB5-42C4-A545-CB55DE9AEF4F}" destId="{2755C251-0D30-4A3A-AFD7-F85FA15A07E8}" srcOrd="0" destOrd="0" presId="urn:microsoft.com/office/officeart/2005/8/layout/vList5"/>
    <dgm:cxn modelId="{97FD1252-571E-4370-93E6-082A36EE1276}" type="presOf" srcId="{AB6F1D43-6A0C-4845-9943-D8751DD4693A}" destId="{3E98F9E9-B7FF-4A28-89B8-1E4AF03D6684}" srcOrd="0" destOrd="0" presId="urn:microsoft.com/office/officeart/2005/8/layout/vList5"/>
    <dgm:cxn modelId="{6579265B-8968-4EA4-9CCF-EF5A3B768FC5}" type="presOf" srcId="{0F038507-D762-4D03-996E-A209B00C6E1C}" destId="{7403213E-94E8-4ABF-8416-B4C77C832269}" srcOrd="0" destOrd="0" presId="urn:microsoft.com/office/officeart/2005/8/layout/vList5"/>
    <dgm:cxn modelId="{99BE6161-AA1E-4EF0-A74E-30B649A92A8D}" type="presOf" srcId="{11E57784-7649-4A5F-986D-99C9770233CA}" destId="{8C79CD97-46CF-46A9-B413-D1150F34989E}" srcOrd="0" destOrd="0" presId="urn:microsoft.com/office/officeart/2005/8/layout/vList5"/>
    <dgm:cxn modelId="{75497F63-796D-46DE-9038-3CF9EF7BBF52}" srcId="{0903E1E0-F7FA-437B-A14C-5AB13C528BAF}" destId="{BFDAB331-A41A-4A0C-96C3-9E9C71FC3639}" srcOrd="1" destOrd="0" parTransId="{6F8522E3-F119-4C4A-8F2A-481E9FCBEE6D}" sibTransId="{1816DACC-8BB7-4B58-B7A0-6AFD945CAD82}"/>
    <dgm:cxn modelId="{AC838995-9BF2-4553-9D34-5F30E2D75B98}" srcId="{AB6F1D43-6A0C-4845-9943-D8751DD4693A}" destId="{9F9F91F9-DAB5-42C4-A545-CB55DE9AEF4F}" srcOrd="0" destOrd="0" parTransId="{C1CA3294-488E-418B-89F2-09D8597FEE33}" sibTransId="{BDD9169D-781E-4096-AD2B-C1B340754B13}"/>
    <dgm:cxn modelId="{29D667AA-0C00-43FC-950B-08AB1D6CCF50}" srcId="{AB6F1D43-6A0C-4845-9943-D8751DD4693A}" destId="{BBAD2F4D-A046-4F11-A9AA-E683F7ED7729}" srcOrd="1" destOrd="0" parTransId="{CABCAE9A-9D0A-4C87-B615-2DB726673D6F}" sibTransId="{8843A5F9-5E1A-4EC8-B839-BE89ADADD857}"/>
    <dgm:cxn modelId="{B498C1CE-8313-4F22-BAC2-65464CF40414}" srcId="{0903E1E0-F7FA-437B-A14C-5AB13C528BAF}" destId="{0F038507-D762-4D03-996E-A209B00C6E1C}" srcOrd="0" destOrd="0" parTransId="{0471C9BD-87C8-4DDA-AA5A-AA9B9C68350E}" sibTransId="{830AEE64-75D6-4DE2-83CF-0CF76CC761CB}"/>
    <dgm:cxn modelId="{4299FCD1-7579-4D1E-97B5-048457D5105B}" type="presOf" srcId="{CA2D4ED2-9A15-494C-A516-479A1EA29FE1}" destId="{8C79CD97-46CF-46A9-B413-D1150F34989E}" srcOrd="0" destOrd="1" presId="urn:microsoft.com/office/officeart/2005/8/layout/vList5"/>
    <dgm:cxn modelId="{9ADAFDD9-FAA3-4816-A410-F3044CE53844}" type="presOf" srcId="{0903E1E0-F7FA-437B-A14C-5AB13C528BAF}" destId="{1F3F0FCA-1409-433D-94C2-CC8A9A24AFA5}" srcOrd="0" destOrd="0" presId="urn:microsoft.com/office/officeart/2005/8/layout/vList5"/>
    <dgm:cxn modelId="{B1EEB1F3-CA80-4291-BCF3-ECDEF57B7BF2}" type="presOf" srcId="{BFDAB331-A41A-4A0C-96C3-9E9C71FC3639}" destId="{F6A8F14F-9155-4E80-86C3-82CA6E62E797}" srcOrd="0" destOrd="0" presId="urn:microsoft.com/office/officeart/2005/8/layout/vList5"/>
    <dgm:cxn modelId="{98FF8DF9-E2A7-4B7F-B056-3C9A28E1C75B}" type="presOf" srcId="{BBAD2F4D-A046-4F11-A9AA-E683F7ED7729}" destId="{2755C251-0D30-4A3A-AFD7-F85FA15A07E8}" srcOrd="0" destOrd="1" presId="urn:microsoft.com/office/officeart/2005/8/layout/vList5"/>
    <dgm:cxn modelId="{47BDF7C9-E3AF-4D6E-AA2D-759912D810A8}" type="presParOf" srcId="{1F3F0FCA-1409-433D-94C2-CC8A9A24AFA5}" destId="{D56A1A38-5C83-4347-8954-DBA94B565175}" srcOrd="0" destOrd="0" presId="urn:microsoft.com/office/officeart/2005/8/layout/vList5"/>
    <dgm:cxn modelId="{125928AD-7BF5-48A0-93DB-D046207BC123}" type="presParOf" srcId="{D56A1A38-5C83-4347-8954-DBA94B565175}" destId="{7403213E-94E8-4ABF-8416-B4C77C832269}" srcOrd="0" destOrd="0" presId="urn:microsoft.com/office/officeart/2005/8/layout/vList5"/>
    <dgm:cxn modelId="{34B0CFB3-8E92-4261-8D27-0AD9BFD6D54E}" type="presParOf" srcId="{1F3F0FCA-1409-433D-94C2-CC8A9A24AFA5}" destId="{E7FEF4E4-9A3F-48BA-8A09-E5E5144AB0D8}" srcOrd="1" destOrd="0" presId="urn:microsoft.com/office/officeart/2005/8/layout/vList5"/>
    <dgm:cxn modelId="{D511B161-9FD9-488F-AF49-E4B45F126521}" type="presParOf" srcId="{1F3F0FCA-1409-433D-94C2-CC8A9A24AFA5}" destId="{00E667C6-5C76-498A-BC86-979639058A9C}" srcOrd="2" destOrd="0" presId="urn:microsoft.com/office/officeart/2005/8/layout/vList5"/>
    <dgm:cxn modelId="{7792D625-2929-4B8C-B267-DA64CCB37665}" type="presParOf" srcId="{00E667C6-5C76-498A-BC86-979639058A9C}" destId="{F6A8F14F-9155-4E80-86C3-82CA6E62E797}" srcOrd="0" destOrd="0" presId="urn:microsoft.com/office/officeart/2005/8/layout/vList5"/>
    <dgm:cxn modelId="{803D04BC-79AB-4FF9-85F8-BC4D818D2FB7}" type="presParOf" srcId="{00E667C6-5C76-498A-BC86-979639058A9C}" destId="{8C79CD97-46CF-46A9-B413-D1150F34989E}" srcOrd="1" destOrd="0" presId="urn:microsoft.com/office/officeart/2005/8/layout/vList5"/>
    <dgm:cxn modelId="{5D66CE36-85EA-4679-AE87-F308F95A9AC0}" type="presParOf" srcId="{1F3F0FCA-1409-433D-94C2-CC8A9A24AFA5}" destId="{FB74E2BA-B330-4C48-A21A-3A69FD58E8F2}" srcOrd="3" destOrd="0" presId="urn:microsoft.com/office/officeart/2005/8/layout/vList5"/>
    <dgm:cxn modelId="{E89C93A7-0E35-417F-B7B7-8683948FFAAB}" type="presParOf" srcId="{1F3F0FCA-1409-433D-94C2-CC8A9A24AFA5}" destId="{56C489D0-8B35-4AF5-B204-0FB92EDC6846}" srcOrd="4" destOrd="0" presId="urn:microsoft.com/office/officeart/2005/8/layout/vList5"/>
    <dgm:cxn modelId="{8F3F5EF2-75A4-4C56-B933-7F8B72476641}" type="presParOf" srcId="{56C489D0-8B35-4AF5-B204-0FB92EDC6846}" destId="{3E98F9E9-B7FF-4A28-89B8-1E4AF03D6684}" srcOrd="0" destOrd="0" presId="urn:microsoft.com/office/officeart/2005/8/layout/vList5"/>
    <dgm:cxn modelId="{3A830014-D134-49D8-BA38-5EDA025F109B}" type="presParOf" srcId="{56C489D0-8B35-4AF5-B204-0FB92EDC6846}" destId="{2755C251-0D30-4A3A-AFD7-F85FA15A07E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8842D1C2-BD56-477F-AE44-C9B108FA641D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C69AEDE-EE7E-4298-9AC4-0EC9AAE76B5B}">
      <dgm:prSet/>
      <dgm:spPr/>
      <dgm:t>
        <a:bodyPr/>
        <a:lstStyle/>
        <a:p>
          <a:pPr rtl="0"/>
          <a:r>
            <a:rPr lang="en-US" dirty="0"/>
            <a:t>Fully integrated four year fellowship with 36 months PEM and 12 months GH</a:t>
          </a:r>
        </a:p>
      </dgm:t>
    </dgm:pt>
    <dgm:pt modelId="{BFCF1E4B-81FE-46AD-B050-9E6DDB224FAD}" type="parTrans" cxnId="{A6B68E1E-9263-4E02-BA79-291DA56E776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6764AB1-E285-450A-8B03-B50854001053}" type="sibTrans" cxnId="{A6B68E1E-9263-4E02-BA79-291DA56E776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3258B3B-03E0-483D-8B7B-FDE7B1C5A8CC}">
      <dgm:prSet/>
      <dgm:spPr/>
      <dgm:t>
        <a:bodyPr/>
        <a:lstStyle/>
        <a:p>
          <a:pPr rtl="0"/>
          <a:r>
            <a:rPr lang="en-US" dirty="0"/>
            <a:t>Rotation schedule is modified to include 2-4 months per year of global health time</a:t>
          </a:r>
        </a:p>
      </dgm:t>
    </dgm:pt>
    <dgm:pt modelId="{8B2AA7E9-442D-49DA-972D-D43B7F4F81AE}" type="parTrans" cxnId="{497137B2-F62B-49F2-98CE-CEC793607CD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60C34D8-C184-405B-834A-E3EB1099A784}" type="sibTrans" cxnId="{497137B2-F62B-49F2-98CE-CEC793607CD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D8B20C4-C538-465B-A708-D80E7A034683}">
      <dgm:prSet/>
      <dgm:spPr/>
      <dgm:t>
        <a:bodyPr/>
        <a:lstStyle/>
        <a:p>
          <a:pPr rtl="0"/>
          <a:r>
            <a:rPr lang="en-US" dirty="0"/>
            <a:t>Some rotations will be delayed to the following academic year</a:t>
          </a:r>
        </a:p>
      </dgm:t>
    </dgm:pt>
    <dgm:pt modelId="{517A9F65-7AB2-4CF3-84C9-207F2709CCB4}" type="parTrans" cxnId="{7EB9BD08-A0C9-4AFA-816B-ED3E77623C9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2258A80-6168-4233-9145-486A5398EF26}" type="sibTrans" cxnId="{7EB9BD08-A0C9-4AFA-816B-ED3E77623C9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0AD0BFC-74D9-4540-8FAF-1FA2498346E9}">
      <dgm:prSet/>
      <dgm:spPr/>
      <dgm:t>
        <a:bodyPr/>
        <a:lstStyle/>
        <a:p>
          <a:pPr rtl="0"/>
          <a:r>
            <a:rPr lang="en-US" dirty="0"/>
            <a:t>Scholarly project focused on global health</a:t>
          </a:r>
        </a:p>
      </dgm:t>
    </dgm:pt>
    <dgm:pt modelId="{429FBE28-AFFA-4EB2-9815-AF8C234C2131}" type="parTrans" cxnId="{82D11855-42D4-4C2B-B4C7-5D1B70C1717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3EFD4E2-FCA6-4695-9892-187B6AD602EE}" type="sibTrans" cxnId="{82D11855-42D4-4C2B-B4C7-5D1B70C17170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6ABFDD9-33EA-493C-B5D9-61C866E3D66B}">
      <dgm:prSet/>
      <dgm:spPr/>
      <dgm:t>
        <a:bodyPr/>
        <a:lstStyle/>
        <a:p>
          <a:r>
            <a:rPr lang="en-US" dirty="0"/>
            <a:t>Fellows graduate both programs at the end of 4 years</a:t>
          </a:r>
        </a:p>
      </dgm:t>
    </dgm:pt>
    <dgm:pt modelId="{065CA5D1-5EF9-4E4F-93C9-DD0D1A21EF8D}" type="parTrans" cxnId="{3EE7D164-BEC6-4A4B-8745-D306AE0A96B7}">
      <dgm:prSet/>
      <dgm:spPr/>
    </dgm:pt>
    <dgm:pt modelId="{4E6A450E-1A00-42A9-9EAB-F54DBFC923F7}" type="sibTrans" cxnId="{3EE7D164-BEC6-4A4B-8745-D306AE0A96B7}">
      <dgm:prSet/>
      <dgm:spPr/>
    </dgm:pt>
    <dgm:pt modelId="{C7B077DD-2BE5-485C-84C8-CFDC1ECBB315}" type="pres">
      <dgm:prSet presAssocID="{8842D1C2-BD56-477F-AE44-C9B108FA641D}" presName="linear" presStyleCnt="0">
        <dgm:presLayoutVars>
          <dgm:animLvl val="lvl"/>
          <dgm:resizeHandles val="exact"/>
        </dgm:presLayoutVars>
      </dgm:prSet>
      <dgm:spPr/>
    </dgm:pt>
    <dgm:pt modelId="{D4C898F7-7496-4331-B646-DE66EFF44A47}" type="pres">
      <dgm:prSet presAssocID="{FC69AEDE-EE7E-4298-9AC4-0EC9AAE76B5B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C48EEADA-6230-47E9-A9E2-E377AF6CADFA}" type="pres">
      <dgm:prSet presAssocID="{E6764AB1-E285-450A-8B03-B50854001053}" presName="spacer" presStyleCnt="0"/>
      <dgm:spPr/>
    </dgm:pt>
    <dgm:pt modelId="{88F7A4D7-FC0F-49E1-8F47-4EEC947BDB64}" type="pres">
      <dgm:prSet presAssocID="{A6ABFDD9-33EA-493C-B5D9-61C866E3D66B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BDDE3FB5-A56E-4B33-8536-64600A530637}" type="pres">
      <dgm:prSet presAssocID="{4E6A450E-1A00-42A9-9EAB-F54DBFC923F7}" presName="spacer" presStyleCnt="0"/>
      <dgm:spPr/>
    </dgm:pt>
    <dgm:pt modelId="{BFE25041-8D1B-46F4-B1BB-45EA3E67EEA7}" type="pres">
      <dgm:prSet presAssocID="{63258B3B-03E0-483D-8B7B-FDE7B1C5A8CC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61303635-0F42-472B-8A7F-678CCC609FDA}" type="pres">
      <dgm:prSet presAssocID="{160C34D8-C184-405B-834A-E3EB1099A784}" presName="spacer" presStyleCnt="0"/>
      <dgm:spPr/>
    </dgm:pt>
    <dgm:pt modelId="{51B899F9-F6E9-4FF6-A95E-69260175A068}" type="pres">
      <dgm:prSet presAssocID="{6D8B20C4-C538-465B-A708-D80E7A034683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DB0D100E-D00E-4052-BB8C-1CDAF462E10B}" type="pres">
      <dgm:prSet presAssocID="{A2258A80-6168-4233-9145-486A5398EF26}" presName="spacer" presStyleCnt="0"/>
      <dgm:spPr/>
    </dgm:pt>
    <dgm:pt modelId="{ADDA902B-C4AF-47B2-BB5A-CAD5E580BBCC}" type="pres">
      <dgm:prSet presAssocID="{B0AD0BFC-74D9-4540-8FAF-1FA2498346E9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CA0AD800-A5A3-481C-8370-F022AFEA3F16}" type="presOf" srcId="{6D8B20C4-C538-465B-A708-D80E7A034683}" destId="{51B899F9-F6E9-4FF6-A95E-69260175A068}" srcOrd="0" destOrd="0" presId="urn:microsoft.com/office/officeart/2005/8/layout/vList2"/>
    <dgm:cxn modelId="{7EB9BD08-A0C9-4AFA-816B-ED3E77623C94}" srcId="{8842D1C2-BD56-477F-AE44-C9B108FA641D}" destId="{6D8B20C4-C538-465B-A708-D80E7A034683}" srcOrd="3" destOrd="0" parTransId="{517A9F65-7AB2-4CF3-84C9-207F2709CCB4}" sibTransId="{A2258A80-6168-4233-9145-486A5398EF26}"/>
    <dgm:cxn modelId="{A6B68E1E-9263-4E02-BA79-291DA56E7762}" srcId="{8842D1C2-BD56-477F-AE44-C9B108FA641D}" destId="{FC69AEDE-EE7E-4298-9AC4-0EC9AAE76B5B}" srcOrd="0" destOrd="0" parTransId="{BFCF1E4B-81FE-46AD-B050-9E6DDB224FAD}" sibTransId="{E6764AB1-E285-450A-8B03-B50854001053}"/>
    <dgm:cxn modelId="{A96A5726-A1EB-437F-B4AD-92C04EDB3D9F}" type="presOf" srcId="{B0AD0BFC-74D9-4540-8FAF-1FA2498346E9}" destId="{ADDA902B-C4AF-47B2-BB5A-CAD5E580BBCC}" srcOrd="0" destOrd="0" presId="urn:microsoft.com/office/officeart/2005/8/layout/vList2"/>
    <dgm:cxn modelId="{2A4ECC37-1F38-4DAE-9A74-D36D55447574}" type="presOf" srcId="{FC69AEDE-EE7E-4298-9AC4-0EC9AAE76B5B}" destId="{D4C898F7-7496-4331-B646-DE66EFF44A47}" srcOrd="0" destOrd="0" presId="urn:microsoft.com/office/officeart/2005/8/layout/vList2"/>
    <dgm:cxn modelId="{96598951-3FBC-4006-AF4F-689F729216D1}" type="presOf" srcId="{63258B3B-03E0-483D-8B7B-FDE7B1C5A8CC}" destId="{BFE25041-8D1B-46F4-B1BB-45EA3E67EEA7}" srcOrd="0" destOrd="0" presId="urn:microsoft.com/office/officeart/2005/8/layout/vList2"/>
    <dgm:cxn modelId="{82D11855-42D4-4C2B-B4C7-5D1B70C17170}" srcId="{8842D1C2-BD56-477F-AE44-C9B108FA641D}" destId="{B0AD0BFC-74D9-4540-8FAF-1FA2498346E9}" srcOrd="4" destOrd="0" parTransId="{429FBE28-AFFA-4EB2-9815-AF8C234C2131}" sibTransId="{E3EFD4E2-FCA6-4695-9892-187B6AD602EE}"/>
    <dgm:cxn modelId="{2ADE0763-B229-4A57-A0CA-4CA40F18C139}" type="presOf" srcId="{8842D1C2-BD56-477F-AE44-C9B108FA641D}" destId="{C7B077DD-2BE5-485C-84C8-CFDC1ECBB315}" srcOrd="0" destOrd="0" presId="urn:microsoft.com/office/officeart/2005/8/layout/vList2"/>
    <dgm:cxn modelId="{3EE7D164-BEC6-4A4B-8745-D306AE0A96B7}" srcId="{8842D1C2-BD56-477F-AE44-C9B108FA641D}" destId="{A6ABFDD9-33EA-493C-B5D9-61C866E3D66B}" srcOrd="1" destOrd="0" parTransId="{065CA5D1-5EF9-4E4F-93C9-DD0D1A21EF8D}" sibTransId="{4E6A450E-1A00-42A9-9EAB-F54DBFC923F7}"/>
    <dgm:cxn modelId="{497137B2-F62B-49F2-98CE-CEC793607CD0}" srcId="{8842D1C2-BD56-477F-AE44-C9B108FA641D}" destId="{63258B3B-03E0-483D-8B7B-FDE7B1C5A8CC}" srcOrd="2" destOrd="0" parTransId="{8B2AA7E9-442D-49DA-972D-D43B7F4F81AE}" sibTransId="{160C34D8-C184-405B-834A-E3EB1099A784}"/>
    <dgm:cxn modelId="{8374EAE9-AFE3-488B-B01A-41E64FD02AB2}" type="presOf" srcId="{A6ABFDD9-33EA-493C-B5D9-61C866E3D66B}" destId="{88F7A4D7-FC0F-49E1-8F47-4EEC947BDB64}" srcOrd="0" destOrd="0" presId="urn:microsoft.com/office/officeart/2005/8/layout/vList2"/>
    <dgm:cxn modelId="{9C638D0A-DC1F-4B1D-B402-1C391AFF4D54}" type="presParOf" srcId="{C7B077DD-2BE5-485C-84C8-CFDC1ECBB315}" destId="{D4C898F7-7496-4331-B646-DE66EFF44A47}" srcOrd="0" destOrd="0" presId="urn:microsoft.com/office/officeart/2005/8/layout/vList2"/>
    <dgm:cxn modelId="{B93EED48-47FB-4663-BC78-A77DC5F28478}" type="presParOf" srcId="{C7B077DD-2BE5-485C-84C8-CFDC1ECBB315}" destId="{C48EEADA-6230-47E9-A9E2-E377AF6CADFA}" srcOrd="1" destOrd="0" presId="urn:microsoft.com/office/officeart/2005/8/layout/vList2"/>
    <dgm:cxn modelId="{F0E2B44A-9C22-404B-8FC8-8253F8DB5E3A}" type="presParOf" srcId="{C7B077DD-2BE5-485C-84C8-CFDC1ECBB315}" destId="{88F7A4D7-FC0F-49E1-8F47-4EEC947BDB64}" srcOrd="2" destOrd="0" presId="urn:microsoft.com/office/officeart/2005/8/layout/vList2"/>
    <dgm:cxn modelId="{0F97534B-AFE3-48E9-8315-2B960433B8B3}" type="presParOf" srcId="{C7B077DD-2BE5-485C-84C8-CFDC1ECBB315}" destId="{BDDE3FB5-A56E-4B33-8536-64600A530637}" srcOrd="3" destOrd="0" presId="urn:microsoft.com/office/officeart/2005/8/layout/vList2"/>
    <dgm:cxn modelId="{1F53D7E2-5910-4DDE-88DF-0874D787FF1E}" type="presParOf" srcId="{C7B077DD-2BE5-485C-84C8-CFDC1ECBB315}" destId="{BFE25041-8D1B-46F4-B1BB-45EA3E67EEA7}" srcOrd="4" destOrd="0" presId="urn:microsoft.com/office/officeart/2005/8/layout/vList2"/>
    <dgm:cxn modelId="{8DDBE2FD-448A-4E69-96A7-622BCBE8A18D}" type="presParOf" srcId="{C7B077DD-2BE5-485C-84C8-CFDC1ECBB315}" destId="{61303635-0F42-472B-8A7F-678CCC609FDA}" srcOrd="5" destOrd="0" presId="urn:microsoft.com/office/officeart/2005/8/layout/vList2"/>
    <dgm:cxn modelId="{D08F5115-74E8-47C8-84D2-A7494A0F413F}" type="presParOf" srcId="{C7B077DD-2BE5-485C-84C8-CFDC1ECBB315}" destId="{51B899F9-F6E9-4FF6-A95E-69260175A068}" srcOrd="6" destOrd="0" presId="urn:microsoft.com/office/officeart/2005/8/layout/vList2"/>
    <dgm:cxn modelId="{1A009DF0-17E5-4263-A1B7-A3CC7732B703}" type="presParOf" srcId="{C7B077DD-2BE5-485C-84C8-CFDC1ECBB315}" destId="{DB0D100E-D00E-4052-BB8C-1CDAF462E10B}" srcOrd="7" destOrd="0" presId="urn:microsoft.com/office/officeart/2005/8/layout/vList2"/>
    <dgm:cxn modelId="{2B911576-FBED-473B-B82A-2894F7B6A283}" type="presParOf" srcId="{C7B077DD-2BE5-485C-84C8-CFDC1ECBB315}" destId="{ADDA902B-C4AF-47B2-BB5A-CAD5E580BBCC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D9499A92-525E-458A-9AC4-C978FB100BCA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8BD41021-9A84-4051-9612-E5CDF3A38E73}">
      <dgm:prSet/>
      <dgm:spPr/>
      <dgm:t>
        <a:bodyPr/>
        <a:lstStyle/>
        <a:p>
          <a:pPr rtl="0"/>
          <a:r>
            <a:rPr lang="en-US"/>
            <a:t>PEM conference Thursday 9am-1pm</a:t>
          </a:r>
          <a:endParaRPr lang="en-US" dirty="0"/>
        </a:p>
      </dgm:t>
    </dgm:pt>
    <dgm:pt modelId="{685EFA84-E1F1-46E2-9AF6-53887D248F29}" type="parTrans" cxnId="{F9E652DE-43B4-4600-BA76-4A7BEB0CE62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C40DB0B-9529-4A5E-A199-A82B800F6385}" type="sibTrans" cxnId="{F9E652DE-43B4-4600-BA76-4A7BEB0CE62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B850DB4-228D-4EFE-97C6-67B07E9DAF3A}">
      <dgm:prSet/>
      <dgm:spPr/>
      <dgm:t>
        <a:bodyPr/>
        <a:lstStyle/>
        <a:p>
          <a:pPr rtl="0"/>
          <a:r>
            <a:rPr lang="en-US"/>
            <a:t>Conferences which you will present or require your preparation:</a:t>
          </a:r>
          <a:endParaRPr lang="en-US" dirty="0"/>
        </a:p>
      </dgm:t>
    </dgm:pt>
    <dgm:pt modelId="{2138831A-6D76-463D-977A-CF9941EBB572}" type="parTrans" cxnId="{345DCD48-DF07-49E7-B59E-785586F9934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20B4AD8-1343-452A-BC4C-BCCD54FB214E}" type="sibTrans" cxnId="{345DCD48-DF07-49E7-B59E-785586F9934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66018EB-8E1D-4B01-8DA2-66A408E407C6}">
      <dgm:prSet/>
      <dgm:spPr/>
      <dgm:t>
        <a:bodyPr/>
        <a:lstStyle/>
        <a:p>
          <a:pPr rtl="0"/>
          <a:r>
            <a:rPr lang="en-US"/>
            <a:t>Quality and Performance Improvement (M&amp;M)</a:t>
          </a:r>
          <a:endParaRPr lang="en-US" dirty="0"/>
        </a:p>
      </dgm:t>
    </dgm:pt>
    <dgm:pt modelId="{0DFAEEFF-E35E-4FF6-9216-520FB7AE0E83}" type="parTrans" cxnId="{BC7D2B9A-95A7-4181-AFFE-294DE169E82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53E0E39-4E94-447D-B780-1E4E77E03D47}" type="sibTrans" cxnId="{BC7D2B9A-95A7-4181-AFFE-294DE169E82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53B4B1F-60EE-4475-BFBA-70F957D95397}">
      <dgm:prSet/>
      <dgm:spPr/>
      <dgm:t>
        <a:bodyPr/>
        <a:lstStyle/>
        <a:p>
          <a:pPr rtl="0"/>
          <a:r>
            <a:rPr lang="en-US"/>
            <a:t>Board Review</a:t>
          </a:r>
        </a:p>
      </dgm:t>
    </dgm:pt>
    <dgm:pt modelId="{7C470F47-B240-40D7-A8A2-4A0C6BDD4A89}" type="parTrans" cxnId="{34239807-0697-4E03-B777-15B704BAE92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43D4264-033A-4ECE-92B6-14F6CE59D6B2}" type="sibTrans" cxnId="{34239807-0697-4E03-B777-15B704BAE92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E08E2F6-7038-4086-93B3-3C4B5DDD272D}">
      <dgm:prSet/>
      <dgm:spPr/>
      <dgm:t>
        <a:bodyPr/>
        <a:lstStyle/>
        <a:p>
          <a:pPr rtl="0"/>
          <a:r>
            <a:rPr lang="en-US"/>
            <a:t>Fellow lectures</a:t>
          </a:r>
          <a:endParaRPr lang="en-US" dirty="0"/>
        </a:p>
      </dgm:t>
    </dgm:pt>
    <dgm:pt modelId="{9356AA56-25A1-42F5-92FF-5B471C4E280B}" type="parTrans" cxnId="{8B79CEA2-6BA3-4995-8743-EDD40BF1509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257146B-7BA9-4A68-B214-A2690D84DA03}" type="sibTrans" cxnId="{8B79CEA2-6BA3-4995-8743-EDD40BF15099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EA31833-6DE2-4071-B294-A78008A2E45E}">
      <dgm:prSet/>
      <dgm:spPr/>
      <dgm:t>
        <a:bodyPr/>
        <a:lstStyle/>
        <a:p>
          <a:pPr rtl="0"/>
          <a:r>
            <a:rPr lang="en-US"/>
            <a:t>Fellow’s follow-up rounds</a:t>
          </a:r>
          <a:endParaRPr lang="en-US" dirty="0"/>
        </a:p>
      </dgm:t>
    </dgm:pt>
    <dgm:pt modelId="{35B01B7E-BD45-485F-98DB-3FE54B20BF42}" type="parTrans" cxnId="{CFBCA693-1037-4221-91E3-DC17522947F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7CB2A3C-3E3E-4168-9AB7-ACA9CD930766}" type="sibTrans" cxnId="{CFBCA693-1037-4221-91E3-DC17522947F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1FC2EFF-5F67-4B25-9A57-BD1AC7322DB2}">
      <dgm:prSet/>
      <dgm:spPr/>
      <dgm:t>
        <a:bodyPr/>
        <a:lstStyle/>
        <a:p>
          <a:pPr rtl="0"/>
          <a:r>
            <a:rPr lang="en-US"/>
            <a:t>National conference presentations</a:t>
          </a:r>
          <a:endParaRPr lang="en-US" dirty="0"/>
        </a:p>
      </dgm:t>
    </dgm:pt>
    <dgm:pt modelId="{CD5A6A86-BC23-4C9A-8131-831862C89787}" type="parTrans" cxnId="{620CCA56-0E49-4315-AD22-7CB5AE70CA6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AFA4FA9-F1E7-4C22-84DD-9AEF2B64C1D0}" type="sibTrans" cxnId="{620CCA56-0E49-4315-AD22-7CB5AE70CA6F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D58F409-5184-4A55-AF47-87224781DFA5}">
      <dgm:prSet/>
      <dgm:spPr/>
      <dgm:t>
        <a:bodyPr/>
        <a:lstStyle/>
        <a:p>
          <a:pPr rtl="0"/>
          <a:r>
            <a:rPr lang="en-US" dirty="0"/>
            <a:t>Clinical protection Wed overnight and Thurs morning</a:t>
          </a:r>
        </a:p>
      </dgm:t>
    </dgm:pt>
    <dgm:pt modelId="{9D5869C4-4D19-4C53-8822-29FBB3BEF37F}" type="parTrans" cxnId="{130C0384-AA3C-4B0B-9CFA-2AD996BA3983}">
      <dgm:prSet/>
      <dgm:spPr/>
      <dgm:t>
        <a:bodyPr/>
        <a:lstStyle/>
        <a:p>
          <a:endParaRPr lang="en-US"/>
        </a:p>
      </dgm:t>
    </dgm:pt>
    <dgm:pt modelId="{C3AEFDED-3B0E-4648-8A62-28608185E21D}" type="sibTrans" cxnId="{130C0384-AA3C-4B0B-9CFA-2AD996BA3983}">
      <dgm:prSet/>
      <dgm:spPr/>
      <dgm:t>
        <a:bodyPr/>
        <a:lstStyle/>
        <a:p>
          <a:endParaRPr lang="en-US"/>
        </a:p>
      </dgm:t>
    </dgm:pt>
    <dgm:pt modelId="{8713644D-AC28-4FB5-9887-E59AF3437686}">
      <dgm:prSet/>
      <dgm:spPr/>
      <dgm:t>
        <a:bodyPr/>
        <a:lstStyle/>
        <a:p>
          <a:pPr rtl="0"/>
          <a:r>
            <a:rPr lang="en-US"/>
            <a:t>Radiology Rounds</a:t>
          </a:r>
          <a:endParaRPr lang="en-US" dirty="0"/>
        </a:p>
      </dgm:t>
    </dgm:pt>
    <dgm:pt modelId="{BFABE6D3-8FFC-4D85-97CA-92F6DED87804}" type="parTrans" cxnId="{DD21D67B-A696-4549-9236-6270ABA349E7}">
      <dgm:prSet/>
      <dgm:spPr/>
      <dgm:t>
        <a:bodyPr/>
        <a:lstStyle/>
        <a:p>
          <a:endParaRPr lang="en-US"/>
        </a:p>
      </dgm:t>
    </dgm:pt>
    <dgm:pt modelId="{2F259B5C-3035-49EF-B2DA-3D77716BAF7E}" type="sibTrans" cxnId="{DD21D67B-A696-4549-9236-6270ABA349E7}">
      <dgm:prSet/>
      <dgm:spPr/>
      <dgm:t>
        <a:bodyPr/>
        <a:lstStyle/>
        <a:p>
          <a:endParaRPr lang="en-US"/>
        </a:p>
      </dgm:t>
    </dgm:pt>
    <dgm:pt modelId="{DECB041F-FBE3-42B5-9102-21E4074A38AA}" type="pres">
      <dgm:prSet presAssocID="{D9499A92-525E-458A-9AC4-C978FB100BCA}" presName="linear" presStyleCnt="0">
        <dgm:presLayoutVars>
          <dgm:animLvl val="lvl"/>
          <dgm:resizeHandles val="exact"/>
        </dgm:presLayoutVars>
      </dgm:prSet>
      <dgm:spPr/>
    </dgm:pt>
    <dgm:pt modelId="{988C5114-DAE7-4F5F-A036-79BAC0C9954E}" type="pres">
      <dgm:prSet presAssocID="{8BD41021-9A84-4051-9612-E5CDF3A38E73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CB92159A-388C-490C-A26B-9EE157563939}" type="pres">
      <dgm:prSet presAssocID="{8BD41021-9A84-4051-9612-E5CDF3A38E73}" presName="childText" presStyleLbl="revTx" presStyleIdx="0" presStyleCnt="2">
        <dgm:presLayoutVars>
          <dgm:bulletEnabled val="1"/>
        </dgm:presLayoutVars>
      </dgm:prSet>
      <dgm:spPr/>
    </dgm:pt>
    <dgm:pt modelId="{58EEE381-7191-4F82-B296-38EAA4F23F81}" type="pres">
      <dgm:prSet presAssocID="{5B850DB4-228D-4EFE-97C6-67B07E9DAF3A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C990B576-C5F8-4657-8386-4D539798EF21}" type="pres">
      <dgm:prSet presAssocID="{5B850DB4-228D-4EFE-97C6-67B07E9DAF3A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34239807-0697-4E03-B777-15B704BAE92A}" srcId="{5B850DB4-228D-4EFE-97C6-67B07E9DAF3A}" destId="{253B4B1F-60EE-4475-BFBA-70F957D95397}" srcOrd="1" destOrd="0" parTransId="{7C470F47-B240-40D7-A8A2-4A0C6BDD4A89}" sibTransId="{B43D4264-033A-4ECE-92B6-14F6CE59D6B2}"/>
    <dgm:cxn modelId="{9D2F9718-CF20-47FB-8170-3A565E8BBBD0}" type="presOf" srcId="{5B850DB4-228D-4EFE-97C6-67B07E9DAF3A}" destId="{58EEE381-7191-4F82-B296-38EAA4F23F81}" srcOrd="0" destOrd="0" presId="urn:microsoft.com/office/officeart/2005/8/layout/vList2"/>
    <dgm:cxn modelId="{BA22F91D-666F-4D24-8648-271EEE1ACA01}" type="presOf" srcId="{1EA31833-6DE2-4071-B294-A78008A2E45E}" destId="{C990B576-C5F8-4657-8386-4D539798EF21}" srcOrd="0" destOrd="3" presId="urn:microsoft.com/office/officeart/2005/8/layout/vList2"/>
    <dgm:cxn modelId="{9D000D40-86B4-4AA0-84AD-1E380E1014E3}" type="presOf" srcId="{866018EB-8E1D-4B01-8DA2-66A408E407C6}" destId="{C990B576-C5F8-4657-8386-4D539798EF21}" srcOrd="0" destOrd="0" presId="urn:microsoft.com/office/officeart/2005/8/layout/vList2"/>
    <dgm:cxn modelId="{345DCD48-DF07-49E7-B59E-785586F99346}" srcId="{D9499A92-525E-458A-9AC4-C978FB100BCA}" destId="{5B850DB4-228D-4EFE-97C6-67B07E9DAF3A}" srcOrd="1" destOrd="0" parTransId="{2138831A-6D76-463D-977A-CF9941EBB572}" sibTransId="{520B4AD8-1343-452A-BC4C-BCCD54FB214E}"/>
    <dgm:cxn modelId="{620CCA56-0E49-4315-AD22-7CB5AE70CA6F}" srcId="{5B850DB4-228D-4EFE-97C6-67B07E9DAF3A}" destId="{E1FC2EFF-5F67-4B25-9A57-BD1AC7322DB2}" srcOrd="5" destOrd="0" parTransId="{CD5A6A86-BC23-4C9A-8131-831862C89787}" sibTransId="{6AFA4FA9-F1E7-4C22-84DD-9AEF2B64C1D0}"/>
    <dgm:cxn modelId="{2B562075-4ACF-4098-A882-C3F40857CE5A}" type="presOf" srcId="{8713644D-AC28-4FB5-9887-E59AF3437686}" destId="{C990B576-C5F8-4657-8386-4D539798EF21}" srcOrd="0" destOrd="4" presId="urn:microsoft.com/office/officeart/2005/8/layout/vList2"/>
    <dgm:cxn modelId="{DD21D67B-A696-4549-9236-6270ABA349E7}" srcId="{5B850DB4-228D-4EFE-97C6-67B07E9DAF3A}" destId="{8713644D-AC28-4FB5-9887-E59AF3437686}" srcOrd="4" destOrd="0" parTransId="{BFABE6D3-8FFC-4D85-97CA-92F6DED87804}" sibTransId="{2F259B5C-3035-49EF-B2DA-3D77716BAF7E}"/>
    <dgm:cxn modelId="{AA1CA17F-A897-4570-B339-DF4AE91B0DCD}" type="presOf" srcId="{D9499A92-525E-458A-9AC4-C978FB100BCA}" destId="{DECB041F-FBE3-42B5-9102-21E4074A38AA}" srcOrd="0" destOrd="0" presId="urn:microsoft.com/office/officeart/2005/8/layout/vList2"/>
    <dgm:cxn modelId="{130C0384-AA3C-4B0B-9CFA-2AD996BA3983}" srcId="{8BD41021-9A84-4051-9612-E5CDF3A38E73}" destId="{6D58F409-5184-4A55-AF47-87224781DFA5}" srcOrd="0" destOrd="0" parTransId="{9D5869C4-4D19-4C53-8822-29FBB3BEF37F}" sibTransId="{C3AEFDED-3B0E-4648-8A62-28608185E21D}"/>
    <dgm:cxn modelId="{CFBCA693-1037-4221-91E3-DC17522947F8}" srcId="{5B850DB4-228D-4EFE-97C6-67B07E9DAF3A}" destId="{1EA31833-6DE2-4071-B294-A78008A2E45E}" srcOrd="3" destOrd="0" parTransId="{35B01B7E-BD45-485F-98DB-3FE54B20BF42}" sibTransId="{17CB2A3C-3E3E-4168-9AB7-ACA9CD930766}"/>
    <dgm:cxn modelId="{BC7D2B9A-95A7-4181-AFFE-294DE169E82F}" srcId="{5B850DB4-228D-4EFE-97C6-67B07E9DAF3A}" destId="{866018EB-8E1D-4B01-8DA2-66A408E407C6}" srcOrd="0" destOrd="0" parTransId="{0DFAEEFF-E35E-4FF6-9216-520FB7AE0E83}" sibTransId="{C53E0E39-4E94-447D-B780-1E4E77E03D47}"/>
    <dgm:cxn modelId="{8B79CEA2-6BA3-4995-8743-EDD40BF15099}" srcId="{5B850DB4-228D-4EFE-97C6-67B07E9DAF3A}" destId="{CE08E2F6-7038-4086-93B3-3C4B5DDD272D}" srcOrd="2" destOrd="0" parTransId="{9356AA56-25A1-42F5-92FF-5B471C4E280B}" sibTransId="{E257146B-7BA9-4A68-B214-A2690D84DA03}"/>
    <dgm:cxn modelId="{864B89A7-CBC9-4501-9F35-9B5FF51C8FEE}" type="presOf" srcId="{253B4B1F-60EE-4475-BFBA-70F957D95397}" destId="{C990B576-C5F8-4657-8386-4D539798EF21}" srcOrd="0" destOrd="1" presId="urn:microsoft.com/office/officeart/2005/8/layout/vList2"/>
    <dgm:cxn modelId="{59F490D1-5A88-4857-9227-D79A4BBBA138}" type="presOf" srcId="{CE08E2F6-7038-4086-93B3-3C4B5DDD272D}" destId="{C990B576-C5F8-4657-8386-4D539798EF21}" srcOrd="0" destOrd="2" presId="urn:microsoft.com/office/officeart/2005/8/layout/vList2"/>
    <dgm:cxn modelId="{FBEA14D6-964D-475A-AE16-777D4C04E0BB}" type="presOf" srcId="{8BD41021-9A84-4051-9612-E5CDF3A38E73}" destId="{988C5114-DAE7-4F5F-A036-79BAC0C9954E}" srcOrd="0" destOrd="0" presId="urn:microsoft.com/office/officeart/2005/8/layout/vList2"/>
    <dgm:cxn modelId="{F9E652DE-43B4-4600-BA76-4A7BEB0CE62F}" srcId="{D9499A92-525E-458A-9AC4-C978FB100BCA}" destId="{8BD41021-9A84-4051-9612-E5CDF3A38E73}" srcOrd="0" destOrd="0" parTransId="{685EFA84-E1F1-46E2-9AF6-53887D248F29}" sibTransId="{BC40DB0B-9529-4A5E-A199-A82B800F6385}"/>
    <dgm:cxn modelId="{610D00F5-6E9E-4227-817A-06508C1C11DF}" type="presOf" srcId="{E1FC2EFF-5F67-4B25-9A57-BD1AC7322DB2}" destId="{C990B576-C5F8-4657-8386-4D539798EF21}" srcOrd="0" destOrd="5" presId="urn:microsoft.com/office/officeart/2005/8/layout/vList2"/>
    <dgm:cxn modelId="{7D3C05FA-30B2-47F1-B197-DC6438AFE263}" type="presOf" srcId="{6D58F409-5184-4A55-AF47-87224781DFA5}" destId="{CB92159A-388C-490C-A26B-9EE157563939}" srcOrd="0" destOrd="0" presId="urn:microsoft.com/office/officeart/2005/8/layout/vList2"/>
    <dgm:cxn modelId="{56F0447C-C842-4480-996C-178AE5733F13}" type="presParOf" srcId="{DECB041F-FBE3-42B5-9102-21E4074A38AA}" destId="{988C5114-DAE7-4F5F-A036-79BAC0C9954E}" srcOrd="0" destOrd="0" presId="urn:microsoft.com/office/officeart/2005/8/layout/vList2"/>
    <dgm:cxn modelId="{6406382E-E12D-48B0-8455-44370197AE79}" type="presParOf" srcId="{DECB041F-FBE3-42B5-9102-21E4074A38AA}" destId="{CB92159A-388C-490C-A26B-9EE157563939}" srcOrd="1" destOrd="0" presId="urn:microsoft.com/office/officeart/2005/8/layout/vList2"/>
    <dgm:cxn modelId="{BEA7B7EB-4651-4287-8D99-C8E973378D7C}" type="presParOf" srcId="{DECB041F-FBE3-42B5-9102-21E4074A38AA}" destId="{58EEE381-7191-4F82-B296-38EAA4F23F81}" srcOrd="2" destOrd="0" presId="urn:microsoft.com/office/officeart/2005/8/layout/vList2"/>
    <dgm:cxn modelId="{8E3C1922-BD05-4330-BB52-E953370D1BC9}" type="presParOf" srcId="{DECB041F-FBE3-42B5-9102-21E4074A38AA}" destId="{C990B576-C5F8-4657-8386-4D539798EF21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BF584864-670F-48A9-B425-A8E46B292EBD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965215F1-7588-4BED-B2D2-AB67C099DB33}">
      <dgm:prSet phldrT="[Text]" custT="1"/>
      <dgm:spPr/>
      <dgm:t>
        <a:bodyPr/>
        <a:lstStyle/>
        <a:p>
          <a:r>
            <a:rPr lang="en-US" sz="1000" b="1" dirty="0">
              <a:latin typeface="Times New Roman" panose="02020603050405020304" pitchFamily="18" charset="0"/>
            </a:rPr>
            <a:t>Belize</a:t>
          </a:r>
          <a:endParaRPr lang="en-US" sz="1000" b="1" dirty="0"/>
        </a:p>
      </dgm:t>
    </dgm:pt>
    <dgm:pt modelId="{D6CE316A-1141-48D3-9A41-89820DE79D41}" type="parTrans" cxnId="{A98820F3-0BEF-42EF-9FB0-180148ED2C09}">
      <dgm:prSet/>
      <dgm:spPr/>
      <dgm:t>
        <a:bodyPr/>
        <a:lstStyle/>
        <a:p>
          <a:endParaRPr lang="en-US"/>
        </a:p>
      </dgm:t>
    </dgm:pt>
    <dgm:pt modelId="{05E7A749-1B4F-411C-A606-2CF02C8F51DC}" type="sibTrans" cxnId="{A98820F3-0BEF-42EF-9FB0-180148ED2C09}">
      <dgm:prSet/>
      <dgm:spPr/>
      <dgm:t>
        <a:bodyPr/>
        <a:lstStyle/>
        <a:p>
          <a:endParaRPr lang="en-US"/>
        </a:p>
      </dgm:t>
    </dgm:pt>
    <dgm:pt modelId="{B4D8B19F-2731-4C2A-9024-0832DA435820}">
      <dgm:prSet phldrT="[Text]" custT="1"/>
      <dgm:spPr/>
      <dgm:t>
        <a:bodyPr/>
        <a:lstStyle/>
        <a:p>
          <a:r>
            <a:rPr lang="en-US" sz="1200" b="1" i="0" dirty="0"/>
            <a:t>Uganda</a:t>
          </a:r>
        </a:p>
      </dgm:t>
    </dgm:pt>
    <dgm:pt modelId="{8BE7341E-BE63-4F44-A3C3-1AAE5C6AC5FA}" type="parTrans" cxnId="{AF2CCE2F-0ED5-470C-AAB5-83177FB183D6}">
      <dgm:prSet/>
      <dgm:spPr/>
      <dgm:t>
        <a:bodyPr/>
        <a:lstStyle/>
        <a:p>
          <a:endParaRPr lang="en-US"/>
        </a:p>
      </dgm:t>
    </dgm:pt>
    <dgm:pt modelId="{79195F7A-FC5F-49B4-A78C-029CFFBE413B}" type="sibTrans" cxnId="{AF2CCE2F-0ED5-470C-AAB5-83177FB183D6}">
      <dgm:prSet/>
      <dgm:spPr/>
      <dgm:t>
        <a:bodyPr/>
        <a:lstStyle/>
        <a:p>
          <a:endParaRPr lang="en-US"/>
        </a:p>
      </dgm:t>
    </dgm:pt>
    <dgm:pt modelId="{E9F3ED8E-C003-4025-B508-6853B72F4DC2}">
      <dgm:prSet custT="1"/>
      <dgm:spPr/>
      <dgm:t>
        <a:bodyPr/>
        <a:lstStyle/>
        <a:p>
          <a:pPr algn="l"/>
          <a:r>
            <a:rPr lang="en-US" sz="900" b="1" dirty="0">
              <a:latin typeface="Times New Roman" panose="02020603050405020304" pitchFamily="18" charset="0"/>
            </a:rPr>
            <a:t>Colombia</a:t>
          </a:r>
        </a:p>
      </dgm:t>
    </dgm:pt>
    <dgm:pt modelId="{382434F9-C33A-4567-9F99-E88A52F7E38F}" type="parTrans" cxnId="{45150DE5-83B4-4C0B-9312-FCE5BB75FB60}">
      <dgm:prSet/>
      <dgm:spPr/>
      <dgm:t>
        <a:bodyPr/>
        <a:lstStyle/>
        <a:p>
          <a:endParaRPr lang="en-US"/>
        </a:p>
      </dgm:t>
    </dgm:pt>
    <dgm:pt modelId="{2C42A08C-5ABE-4BDF-AA3B-AA2AA8A68CA5}" type="sibTrans" cxnId="{45150DE5-83B4-4C0B-9312-FCE5BB75FB60}">
      <dgm:prSet/>
      <dgm:spPr/>
      <dgm:t>
        <a:bodyPr/>
        <a:lstStyle/>
        <a:p>
          <a:endParaRPr lang="en-US"/>
        </a:p>
      </dgm:t>
    </dgm:pt>
    <dgm:pt modelId="{D14F26E0-D4DF-4FD3-8430-6FC4725B0A2D}">
      <dgm:prSet custT="1"/>
      <dgm:spPr/>
      <dgm:t>
        <a:bodyPr/>
        <a:lstStyle/>
        <a:p>
          <a:r>
            <a:rPr lang="en-US" sz="1000" b="1" dirty="0">
              <a:latin typeface="Times New Roman" panose="02020603050405020304" pitchFamily="18" charset="0"/>
            </a:rPr>
            <a:t>Malawi</a:t>
          </a:r>
        </a:p>
      </dgm:t>
    </dgm:pt>
    <dgm:pt modelId="{AE99402C-BC8A-44E6-846C-E229B3C60609}" type="parTrans" cxnId="{CC322973-FB29-4FD0-91CC-6D23CBC4B83B}">
      <dgm:prSet/>
      <dgm:spPr/>
      <dgm:t>
        <a:bodyPr/>
        <a:lstStyle/>
        <a:p>
          <a:endParaRPr lang="en-US"/>
        </a:p>
      </dgm:t>
    </dgm:pt>
    <dgm:pt modelId="{6F794DDC-4301-4537-BAC7-0FA014C246ED}" type="sibTrans" cxnId="{CC322973-FB29-4FD0-91CC-6D23CBC4B83B}">
      <dgm:prSet/>
      <dgm:spPr/>
      <dgm:t>
        <a:bodyPr/>
        <a:lstStyle/>
        <a:p>
          <a:endParaRPr lang="en-US"/>
        </a:p>
      </dgm:t>
    </dgm:pt>
    <dgm:pt modelId="{DBEA0C18-DADD-4B4E-BE7E-4D5362552716}">
      <dgm:prSet custT="1"/>
      <dgm:spPr/>
      <dgm:t>
        <a:bodyPr/>
        <a:lstStyle/>
        <a:p>
          <a:r>
            <a:rPr lang="en-US" sz="1000" b="1" dirty="0">
              <a:latin typeface="Times New Roman" panose="02020603050405020304" pitchFamily="18" charset="0"/>
            </a:rPr>
            <a:t>Botswana</a:t>
          </a:r>
        </a:p>
      </dgm:t>
    </dgm:pt>
    <dgm:pt modelId="{8139B9CD-CE55-4D25-9DFF-2BA10029F144}" type="parTrans" cxnId="{7BC098CE-0C3E-4BA2-83C3-A8924A121EF5}">
      <dgm:prSet/>
      <dgm:spPr/>
      <dgm:t>
        <a:bodyPr/>
        <a:lstStyle/>
        <a:p>
          <a:endParaRPr lang="en-US"/>
        </a:p>
      </dgm:t>
    </dgm:pt>
    <dgm:pt modelId="{049C1BA6-C584-4D48-B4BF-CE1C14501EB3}" type="sibTrans" cxnId="{7BC098CE-0C3E-4BA2-83C3-A8924A121EF5}">
      <dgm:prSet/>
      <dgm:spPr/>
      <dgm:t>
        <a:bodyPr/>
        <a:lstStyle/>
        <a:p>
          <a:endParaRPr lang="en-US"/>
        </a:p>
      </dgm:t>
    </dgm:pt>
    <dgm:pt modelId="{68DAF84C-FBB4-46A1-8584-5A0F8B935C66}">
      <dgm:prSet phldrT="[Text]" custT="1"/>
      <dgm:spPr/>
      <dgm:t>
        <a:bodyPr/>
        <a:lstStyle/>
        <a:p>
          <a:r>
            <a:rPr lang="en-US" sz="1000" b="1" dirty="0"/>
            <a:t>Puerto Rico</a:t>
          </a:r>
        </a:p>
      </dgm:t>
    </dgm:pt>
    <dgm:pt modelId="{BA15D44C-5508-4093-A656-81D77C0D8E25}" type="parTrans" cxnId="{74A3396C-59FF-469D-8067-7F1D2FA114F4}">
      <dgm:prSet/>
      <dgm:spPr/>
      <dgm:t>
        <a:bodyPr/>
        <a:lstStyle/>
        <a:p>
          <a:endParaRPr lang="en-US"/>
        </a:p>
      </dgm:t>
    </dgm:pt>
    <dgm:pt modelId="{E3B615A6-03A8-45E6-A89C-DB6CA94418DE}" type="sibTrans" cxnId="{74A3396C-59FF-469D-8067-7F1D2FA114F4}">
      <dgm:prSet/>
      <dgm:spPr/>
      <dgm:t>
        <a:bodyPr/>
        <a:lstStyle/>
        <a:p>
          <a:endParaRPr lang="en-US"/>
        </a:p>
      </dgm:t>
    </dgm:pt>
    <dgm:pt modelId="{0EAB71E4-320A-4513-A824-6D806B012195}">
      <dgm:prSet phldrT="[Text]" custT="1"/>
      <dgm:spPr/>
      <dgm:t>
        <a:bodyPr/>
        <a:lstStyle/>
        <a:p>
          <a:r>
            <a:rPr lang="en-US" sz="1000" b="1" dirty="0"/>
            <a:t>El Salvador</a:t>
          </a:r>
        </a:p>
      </dgm:t>
    </dgm:pt>
    <dgm:pt modelId="{8C657463-718E-4C3F-9B28-ED865D4F6B3D}" type="parTrans" cxnId="{2E004FE1-D34D-4187-8A7B-EE8BEFF2BD2A}">
      <dgm:prSet/>
      <dgm:spPr/>
      <dgm:t>
        <a:bodyPr/>
        <a:lstStyle/>
        <a:p>
          <a:endParaRPr lang="en-US"/>
        </a:p>
      </dgm:t>
    </dgm:pt>
    <dgm:pt modelId="{81F65D0B-750A-4315-B830-7515706B071D}" type="sibTrans" cxnId="{2E004FE1-D34D-4187-8A7B-EE8BEFF2BD2A}">
      <dgm:prSet/>
      <dgm:spPr/>
      <dgm:t>
        <a:bodyPr/>
        <a:lstStyle/>
        <a:p>
          <a:endParaRPr lang="en-US"/>
        </a:p>
      </dgm:t>
    </dgm:pt>
    <dgm:pt modelId="{2D5E313C-6A68-4D88-B242-FF9D0EFB2F90}">
      <dgm:prSet phldrT="[Text]" custT="1"/>
      <dgm:spPr/>
      <dgm:t>
        <a:bodyPr/>
        <a:lstStyle/>
        <a:p>
          <a:r>
            <a:rPr lang="en-US" sz="900" b="1" dirty="0"/>
            <a:t>Guatemala</a:t>
          </a:r>
        </a:p>
      </dgm:t>
    </dgm:pt>
    <dgm:pt modelId="{B619B8B5-BB1B-4E02-A76E-00E6C2F03CFB}" type="parTrans" cxnId="{D5643571-CF7A-43E2-8F5F-AFD0903B5F48}">
      <dgm:prSet/>
      <dgm:spPr/>
      <dgm:t>
        <a:bodyPr/>
        <a:lstStyle/>
        <a:p>
          <a:endParaRPr lang="en-US"/>
        </a:p>
      </dgm:t>
    </dgm:pt>
    <dgm:pt modelId="{4ACEFCF5-B73C-4C47-AA72-BEE0BD9C5E8C}" type="sibTrans" cxnId="{D5643571-CF7A-43E2-8F5F-AFD0903B5F48}">
      <dgm:prSet/>
      <dgm:spPr/>
      <dgm:t>
        <a:bodyPr/>
        <a:lstStyle/>
        <a:p>
          <a:endParaRPr lang="en-US"/>
        </a:p>
      </dgm:t>
    </dgm:pt>
    <dgm:pt modelId="{75479A6E-9ED2-4629-B587-B34555E0CB5F}" type="pres">
      <dgm:prSet presAssocID="{BF584864-670F-48A9-B425-A8E46B292EBD}" presName="Name0" presStyleCnt="0">
        <dgm:presLayoutVars>
          <dgm:chMax/>
          <dgm:chPref/>
          <dgm:dir/>
          <dgm:animLvl val="lvl"/>
        </dgm:presLayoutVars>
      </dgm:prSet>
      <dgm:spPr/>
    </dgm:pt>
    <dgm:pt modelId="{84077678-5098-48EE-B4BF-B1CE695BEA28}" type="pres">
      <dgm:prSet presAssocID="{965215F1-7588-4BED-B2D2-AB67C099DB33}" presName="composite" presStyleCnt="0"/>
      <dgm:spPr/>
    </dgm:pt>
    <dgm:pt modelId="{B6208E63-9883-49A8-999F-44153477C96B}" type="pres">
      <dgm:prSet presAssocID="{965215F1-7588-4BED-B2D2-AB67C099DB33}" presName="Parent1" presStyleLbl="node1" presStyleIdx="0" presStyleCnt="16">
        <dgm:presLayoutVars>
          <dgm:chMax val="1"/>
          <dgm:chPref val="1"/>
          <dgm:bulletEnabled val="1"/>
        </dgm:presLayoutVars>
      </dgm:prSet>
      <dgm:spPr/>
    </dgm:pt>
    <dgm:pt modelId="{990409F4-3ED9-4A4F-BE43-E88BB8DF034B}" type="pres">
      <dgm:prSet presAssocID="{965215F1-7588-4BED-B2D2-AB67C099DB33}" presName="Childtext1" presStyleLbl="revTx" presStyleIdx="0" presStyleCnt="8">
        <dgm:presLayoutVars>
          <dgm:chMax val="0"/>
          <dgm:chPref val="0"/>
          <dgm:bulletEnabled val="1"/>
        </dgm:presLayoutVars>
      </dgm:prSet>
      <dgm:spPr/>
    </dgm:pt>
    <dgm:pt modelId="{80B41D31-A749-46BD-A004-CA558FC36E24}" type="pres">
      <dgm:prSet presAssocID="{965215F1-7588-4BED-B2D2-AB67C099DB33}" presName="BalanceSpacing" presStyleCnt="0"/>
      <dgm:spPr/>
    </dgm:pt>
    <dgm:pt modelId="{76A0A87E-B08E-4E8B-981C-0C10F23BF5F8}" type="pres">
      <dgm:prSet presAssocID="{965215F1-7588-4BED-B2D2-AB67C099DB33}" presName="BalanceSpacing1" presStyleCnt="0"/>
      <dgm:spPr/>
    </dgm:pt>
    <dgm:pt modelId="{D42FE044-36F6-4B1A-83F3-0A204B27EC5A}" type="pres">
      <dgm:prSet presAssocID="{05E7A749-1B4F-411C-A606-2CF02C8F51DC}" presName="Accent1Text" presStyleLbl="node1" presStyleIdx="1" presStyleCnt="16"/>
      <dgm:spPr/>
    </dgm:pt>
    <dgm:pt modelId="{09472863-BF8A-4337-B5F6-78F6489D04F3}" type="pres">
      <dgm:prSet presAssocID="{05E7A749-1B4F-411C-A606-2CF02C8F51DC}" presName="spaceBetweenRectangles" presStyleCnt="0"/>
      <dgm:spPr/>
    </dgm:pt>
    <dgm:pt modelId="{DC93ED03-50D3-4B76-B87B-FD06BC18CF63}" type="pres">
      <dgm:prSet presAssocID="{E9F3ED8E-C003-4025-B508-6853B72F4DC2}" presName="composite" presStyleCnt="0"/>
      <dgm:spPr/>
    </dgm:pt>
    <dgm:pt modelId="{B2D4B433-D298-44EA-B7C1-54F109177D9D}" type="pres">
      <dgm:prSet presAssocID="{E9F3ED8E-C003-4025-B508-6853B72F4DC2}" presName="Parent1" presStyleLbl="node1" presStyleIdx="2" presStyleCnt="16" custScaleX="123799">
        <dgm:presLayoutVars>
          <dgm:chMax val="1"/>
          <dgm:chPref val="1"/>
          <dgm:bulletEnabled val="1"/>
        </dgm:presLayoutVars>
      </dgm:prSet>
      <dgm:spPr/>
    </dgm:pt>
    <dgm:pt modelId="{CC41F34A-F437-4731-A44D-A0ADDB9FF299}" type="pres">
      <dgm:prSet presAssocID="{E9F3ED8E-C003-4025-B508-6853B72F4DC2}" presName="Childtext1" presStyleLbl="revTx" presStyleIdx="1" presStyleCnt="8">
        <dgm:presLayoutVars>
          <dgm:chMax val="0"/>
          <dgm:chPref val="0"/>
          <dgm:bulletEnabled val="1"/>
        </dgm:presLayoutVars>
      </dgm:prSet>
      <dgm:spPr/>
    </dgm:pt>
    <dgm:pt modelId="{564DDF25-CF44-4097-99FA-B3FDFDEB28FC}" type="pres">
      <dgm:prSet presAssocID="{E9F3ED8E-C003-4025-B508-6853B72F4DC2}" presName="BalanceSpacing" presStyleCnt="0"/>
      <dgm:spPr/>
    </dgm:pt>
    <dgm:pt modelId="{FC4999BA-5AB6-4AB5-94E3-E0511A01B13A}" type="pres">
      <dgm:prSet presAssocID="{E9F3ED8E-C003-4025-B508-6853B72F4DC2}" presName="BalanceSpacing1" presStyleCnt="0"/>
      <dgm:spPr/>
    </dgm:pt>
    <dgm:pt modelId="{18CC23A1-A4E2-4029-86D2-BAC213F76DF1}" type="pres">
      <dgm:prSet presAssocID="{2C42A08C-5ABE-4BDF-AA3B-AA2AA8A68CA5}" presName="Accent1Text" presStyleLbl="node1" presStyleIdx="3" presStyleCnt="16"/>
      <dgm:spPr/>
    </dgm:pt>
    <dgm:pt modelId="{68CCE64D-91AD-4B8D-BC8E-25730BF2C775}" type="pres">
      <dgm:prSet presAssocID="{2C42A08C-5ABE-4BDF-AA3B-AA2AA8A68CA5}" presName="spaceBetweenRectangles" presStyleCnt="0"/>
      <dgm:spPr/>
    </dgm:pt>
    <dgm:pt modelId="{94EDB390-7F8D-4A60-B1B6-B78E27249838}" type="pres">
      <dgm:prSet presAssocID="{D14F26E0-D4DF-4FD3-8430-6FC4725B0A2D}" presName="composite" presStyleCnt="0"/>
      <dgm:spPr/>
    </dgm:pt>
    <dgm:pt modelId="{C5938DD3-E7CA-4820-8FEA-9E006DBA69B2}" type="pres">
      <dgm:prSet presAssocID="{D14F26E0-D4DF-4FD3-8430-6FC4725B0A2D}" presName="Parent1" presStyleLbl="node1" presStyleIdx="4" presStyleCnt="16" custScaleX="126313">
        <dgm:presLayoutVars>
          <dgm:chMax val="1"/>
          <dgm:chPref val="1"/>
          <dgm:bulletEnabled val="1"/>
        </dgm:presLayoutVars>
      </dgm:prSet>
      <dgm:spPr/>
    </dgm:pt>
    <dgm:pt modelId="{78E68F24-F713-47A9-BE10-184FE30DB7C8}" type="pres">
      <dgm:prSet presAssocID="{D14F26E0-D4DF-4FD3-8430-6FC4725B0A2D}" presName="Childtext1" presStyleLbl="revTx" presStyleIdx="2" presStyleCnt="8">
        <dgm:presLayoutVars>
          <dgm:chMax val="0"/>
          <dgm:chPref val="0"/>
          <dgm:bulletEnabled val="1"/>
        </dgm:presLayoutVars>
      </dgm:prSet>
      <dgm:spPr/>
    </dgm:pt>
    <dgm:pt modelId="{BB75BFC9-C0D2-4924-BAD2-42D1E47F6A63}" type="pres">
      <dgm:prSet presAssocID="{D14F26E0-D4DF-4FD3-8430-6FC4725B0A2D}" presName="BalanceSpacing" presStyleCnt="0"/>
      <dgm:spPr/>
    </dgm:pt>
    <dgm:pt modelId="{D5235FC7-C69E-489D-80B9-A811938FEB4F}" type="pres">
      <dgm:prSet presAssocID="{D14F26E0-D4DF-4FD3-8430-6FC4725B0A2D}" presName="BalanceSpacing1" presStyleCnt="0"/>
      <dgm:spPr/>
    </dgm:pt>
    <dgm:pt modelId="{9E6BDFCC-9140-413B-A6AB-6429F0F4A722}" type="pres">
      <dgm:prSet presAssocID="{6F794DDC-4301-4537-BAC7-0FA014C246ED}" presName="Accent1Text" presStyleLbl="node1" presStyleIdx="5" presStyleCnt="16"/>
      <dgm:spPr/>
    </dgm:pt>
    <dgm:pt modelId="{E7D9742F-5E7A-41C0-84D5-E0B46E85DA7B}" type="pres">
      <dgm:prSet presAssocID="{6F794DDC-4301-4537-BAC7-0FA014C246ED}" presName="spaceBetweenRectangles" presStyleCnt="0"/>
      <dgm:spPr/>
    </dgm:pt>
    <dgm:pt modelId="{28BD58CE-7A2F-450B-BE61-7E4B5BC7F4A7}" type="pres">
      <dgm:prSet presAssocID="{DBEA0C18-DADD-4B4E-BE7E-4D5362552716}" presName="composite" presStyleCnt="0"/>
      <dgm:spPr/>
    </dgm:pt>
    <dgm:pt modelId="{EA82ED9E-941D-4887-B086-8723625E62FF}" type="pres">
      <dgm:prSet presAssocID="{DBEA0C18-DADD-4B4E-BE7E-4D5362552716}" presName="Parent1" presStyleLbl="node1" presStyleIdx="6" presStyleCnt="16" custScaleX="142430">
        <dgm:presLayoutVars>
          <dgm:chMax val="1"/>
          <dgm:chPref val="1"/>
          <dgm:bulletEnabled val="1"/>
        </dgm:presLayoutVars>
      </dgm:prSet>
      <dgm:spPr/>
    </dgm:pt>
    <dgm:pt modelId="{28DF919B-B4EA-47D4-B70F-C0FDC5ADF9EA}" type="pres">
      <dgm:prSet presAssocID="{DBEA0C18-DADD-4B4E-BE7E-4D5362552716}" presName="Childtext1" presStyleLbl="revTx" presStyleIdx="3" presStyleCnt="8">
        <dgm:presLayoutVars>
          <dgm:chMax val="0"/>
          <dgm:chPref val="0"/>
          <dgm:bulletEnabled val="1"/>
        </dgm:presLayoutVars>
      </dgm:prSet>
      <dgm:spPr/>
    </dgm:pt>
    <dgm:pt modelId="{57E7802C-9A09-492F-92CF-CA90B23A7A38}" type="pres">
      <dgm:prSet presAssocID="{DBEA0C18-DADD-4B4E-BE7E-4D5362552716}" presName="BalanceSpacing" presStyleCnt="0"/>
      <dgm:spPr/>
    </dgm:pt>
    <dgm:pt modelId="{90AD4BAD-80A7-4404-A680-2AFD18CC7D96}" type="pres">
      <dgm:prSet presAssocID="{DBEA0C18-DADD-4B4E-BE7E-4D5362552716}" presName="BalanceSpacing1" presStyleCnt="0"/>
      <dgm:spPr/>
    </dgm:pt>
    <dgm:pt modelId="{BDA5F59E-2DC7-41F4-BF84-51FEFEFF3359}" type="pres">
      <dgm:prSet presAssocID="{049C1BA6-C584-4D48-B4BF-CE1C14501EB3}" presName="Accent1Text" presStyleLbl="node1" presStyleIdx="7" presStyleCnt="16"/>
      <dgm:spPr/>
    </dgm:pt>
    <dgm:pt modelId="{586BA31D-EA7B-4CF7-8A6C-6EF2652629B5}" type="pres">
      <dgm:prSet presAssocID="{049C1BA6-C584-4D48-B4BF-CE1C14501EB3}" presName="spaceBetweenRectangles" presStyleCnt="0"/>
      <dgm:spPr/>
    </dgm:pt>
    <dgm:pt modelId="{FE00A446-F8BB-4337-87BC-76FF4957630F}" type="pres">
      <dgm:prSet presAssocID="{B4D8B19F-2731-4C2A-9024-0832DA435820}" presName="composite" presStyleCnt="0"/>
      <dgm:spPr/>
    </dgm:pt>
    <dgm:pt modelId="{EA0210F3-54B2-4257-879E-A0DAC4A427C1}" type="pres">
      <dgm:prSet presAssocID="{B4D8B19F-2731-4C2A-9024-0832DA435820}" presName="Parent1" presStyleLbl="node1" presStyleIdx="8" presStyleCnt="16" custScaleX="148499">
        <dgm:presLayoutVars>
          <dgm:chMax val="1"/>
          <dgm:chPref val="1"/>
          <dgm:bulletEnabled val="1"/>
        </dgm:presLayoutVars>
      </dgm:prSet>
      <dgm:spPr/>
    </dgm:pt>
    <dgm:pt modelId="{8A4950F4-7C3D-438A-B816-BD3F5905B5ED}" type="pres">
      <dgm:prSet presAssocID="{B4D8B19F-2731-4C2A-9024-0832DA435820}" presName="Childtext1" presStyleLbl="revTx" presStyleIdx="4" presStyleCnt="8">
        <dgm:presLayoutVars>
          <dgm:chMax val="0"/>
          <dgm:chPref val="0"/>
          <dgm:bulletEnabled val="1"/>
        </dgm:presLayoutVars>
      </dgm:prSet>
      <dgm:spPr/>
    </dgm:pt>
    <dgm:pt modelId="{17311F30-7708-4CF6-8D65-8DE49AFFCD3D}" type="pres">
      <dgm:prSet presAssocID="{B4D8B19F-2731-4C2A-9024-0832DA435820}" presName="BalanceSpacing" presStyleCnt="0"/>
      <dgm:spPr/>
    </dgm:pt>
    <dgm:pt modelId="{95EFAAC2-1C03-4F1D-A547-71A381B387DE}" type="pres">
      <dgm:prSet presAssocID="{B4D8B19F-2731-4C2A-9024-0832DA435820}" presName="BalanceSpacing1" presStyleCnt="0"/>
      <dgm:spPr/>
    </dgm:pt>
    <dgm:pt modelId="{F94D4004-292C-45D0-A759-91EAB0110767}" type="pres">
      <dgm:prSet presAssocID="{79195F7A-FC5F-49B4-A78C-029CFFBE413B}" presName="Accent1Text" presStyleLbl="node1" presStyleIdx="9" presStyleCnt="16"/>
      <dgm:spPr/>
    </dgm:pt>
    <dgm:pt modelId="{AA61E23C-B5AF-4511-9AFA-DFA4AAF9E78A}" type="pres">
      <dgm:prSet presAssocID="{79195F7A-FC5F-49B4-A78C-029CFFBE413B}" presName="spaceBetweenRectangles" presStyleCnt="0"/>
      <dgm:spPr/>
    </dgm:pt>
    <dgm:pt modelId="{C2C69595-ED65-4B6E-97C2-728DA5F49009}" type="pres">
      <dgm:prSet presAssocID="{68DAF84C-FBB4-46A1-8584-5A0F8B935C66}" presName="composite" presStyleCnt="0"/>
      <dgm:spPr/>
    </dgm:pt>
    <dgm:pt modelId="{EB293D36-6CA3-4FA4-9ECE-B321C3B573C2}" type="pres">
      <dgm:prSet presAssocID="{68DAF84C-FBB4-46A1-8584-5A0F8B935C66}" presName="Parent1" presStyleLbl="node1" presStyleIdx="10" presStyleCnt="16" custScaleX="120244">
        <dgm:presLayoutVars>
          <dgm:chMax val="1"/>
          <dgm:chPref val="1"/>
          <dgm:bulletEnabled val="1"/>
        </dgm:presLayoutVars>
      </dgm:prSet>
      <dgm:spPr/>
    </dgm:pt>
    <dgm:pt modelId="{51A2C38F-9A18-4AB7-9B26-FF63B7FA5236}" type="pres">
      <dgm:prSet presAssocID="{68DAF84C-FBB4-46A1-8584-5A0F8B935C66}" presName="Childtext1" presStyleLbl="revTx" presStyleIdx="5" presStyleCnt="8">
        <dgm:presLayoutVars>
          <dgm:chMax val="0"/>
          <dgm:chPref val="0"/>
          <dgm:bulletEnabled val="1"/>
        </dgm:presLayoutVars>
      </dgm:prSet>
      <dgm:spPr/>
    </dgm:pt>
    <dgm:pt modelId="{4675EF0B-E176-4102-B57A-F4513FC88DAA}" type="pres">
      <dgm:prSet presAssocID="{68DAF84C-FBB4-46A1-8584-5A0F8B935C66}" presName="BalanceSpacing" presStyleCnt="0"/>
      <dgm:spPr/>
    </dgm:pt>
    <dgm:pt modelId="{568FCAAB-904D-4459-8997-78243ADA99E7}" type="pres">
      <dgm:prSet presAssocID="{68DAF84C-FBB4-46A1-8584-5A0F8B935C66}" presName="BalanceSpacing1" presStyleCnt="0"/>
      <dgm:spPr/>
    </dgm:pt>
    <dgm:pt modelId="{2FE88100-5B10-400C-8C7B-FC2F666E0CD8}" type="pres">
      <dgm:prSet presAssocID="{E3B615A6-03A8-45E6-A89C-DB6CA94418DE}" presName="Accent1Text" presStyleLbl="node1" presStyleIdx="11" presStyleCnt="16"/>
      <dgm:spPr/>
    </dgm:pt>
    <dgm:pt modelId="{0A97F59F-7AAB-4E80-83BC-AFE2841923DF}" type="pres">
      <dgm:prSet presAssocID="{E3B615A6-03A8-45E6-A89C-DB6CA94418DE}" presName="spaceBetweenRectangles" presStyleCnt="0"/>
      <dgm:spPr/>
    </dgm:pt>
    <dgm:pt modelId="{B3CEE9A7-D4D0-4469-9FDD-B87CDE4C0F93}" type="pres">
      <dgm:prSet presAssocID="{0EAB71E4-320A-4513-A824-6D806B012195}" presName="composite" presStyleCnt="0"/>
      <dgm:spPr/>
    </dgm:pt>
    <dgm:pt modelId="{4F925BDA-57CF-4169-A1CC-7CE846F737B4}" type="pres">
      <dgm:prSet presAssocID="{0EAB71E4-320A-4513-A824-6D806B012195}" presName="Parent1" presStyleLbl="node1" presStyleIdx="12" presStyleCnt="16" custScaleX="148498">
        <dgm:presLayoutVars>
          <dgm:chMax val="1"/>
          <dgm:chPref val="1"/>
          <dgm:bulletEnabled val="1"/>
        </dgm:presLayoutVars>
      </dgm:prSet>
      <dgm:spPr/>
    </dgm:pt>
    <dgm:pt modelId="{4093AC92-4D37-417C-9E2E-1AE6ED8B5870}" type="pres">
      <dgm:prSet presAssocID="{0EAB71E4-320A-4513-A824-6D806B012195}" presName="Childtext1" presStyleLbl="revTx" presStyleIdx="6" presStyleCnt="8">
        <dgm:presLayoutVars>
          <dgm:chMax val="0"/>
          <dgm:chPref val="0"/>
          <dgm:bulletEnabled val="1"/>
        </dgm:presLayoutVars>
      </dgm:prSet>
      <dgm:spPr/>
    </dgm:pt>
    <dgm:pt modelId="{49BCD296-A247-438E-AF6C-31E877B6C9AF}" type="pres">
      <dgm:prSet presAssocID="{0EAB71E4-320A-4513-A824-6D806B012195}" presName="BalanceSpacing" presStyleCnt="0"/>
      <dgm:spPr/>
    </dgm:pt>
    <dgm:pt modelId="{DADF8C43-87CA-4525-A199-BA897BB7965E}" type="pres">
      <dgm:prSet presAssocID="{0EAB71E4-320A-4513-A824-6D806B012195}" presName="BalanceSpacing1" presStyleCnt="0"/>
      <dgm:spPr/>
    </dgm:pt>
    <dgm:pt modelId="{5E25806B-4E7E-4867-94D4-AE7DB02BC03D}" type="pres">
      <dgm:prSet presAssocID="{81F65D0B-750A-4315-B830-7515706B071D}" presName="Accent1Text" presStyleLbl="node1" presStyleIdx="13" presStyleCnt="16"/>
      <dgm:spPr/>
    </dgm:pt>
    <dgm:pt modelId="{1E0BE098-5E0D-458C-AB20-BDAF0CA31169}" type="pres">
      <dgm:prSet presAssocID="{81F65D0B-750A-4315-B830-7515706B071D}" presName="spaceBetweenRectangles" presStyleCnt="0"/>
      <dgm:spPr/>
    </dgm:pt>
    <dgm:pt modelId="{C29B1B96-AFDF-44D7-AA3F-E631D61C3B4C}" type="pres">
      <dgm:prSet presAssocID="{2D5E313C-6A68-4D88-B242-FF9D0EFB2F90}" presName="composite" presStyleCnt="0"/>
      <dgm:spPr/>
    </dgm:pt>
    <dgm:pt modelId="{1E88BF92-0D33-460C-AD4B-71504852446E}" type="pres">
      <dgm:prSet presAssocID="{2D5E313C-6A68-4D88-B242-FF9D0EFB2F90}" presName="Parent1" presStyleLbl="node1" presStyleIdx="14" presStyleCnt="16" custScaleX="164615">
        <dgm:presLayoutVars>
          <dgm:chMax val="1"/>
          <dgm:chPref val="1"/>
          <dgm:bulletEnabled val="1"/>
        </dgm:presLayoutVars>
      </dgm:prSet>
      <dgm:spPr/>
    </dgm:pt>
    <dgm:pt modelId="{A81AD8B4-AB67-4A88-8FA7-054E46B0DB35}" type="pres">
      <dgm:prSet presAssocID="{2D5E313C-6A68-4D88-B242-FF9D0EFB2F90}" presName="Childtext1" presStyleLbl="revTx" presStyleIdx="7" presStyleCnt="8">
        <dgm:presLayoutVars>
          <dgm:chMax val="0"/>
          <dgm:chPref val="0"/>
          <dgm:bulletEnabled val="1"/>
        </dgm:presLayoutVars>
      </dgm:prSet>
      <dgm:spPr/>
    </dgm:pt>
    <dgm:pt modelId="{BD46843F-EC69-4389-8853-90F7B9FA936E}" type="pres">
      <dgm:prSet presAssocID="{2D5E313C-6A68-4D88-B242-FF9D0EFB2F90}" presName="BalanceSpacing" presStyleCnt="0"/>
      <dgm:spPr/>
    </dgm:pt>
    <dgm:pt modelId="{BAF73026-BE58-4876-8328-5A17AFBD5D0B}" type="pres">
      <dgm:prSet presAssocID="{2D5E313C-6A68-4D88-B242-FF9D0EFB2F90}" presName="BalanceSpacing1" presStyleCnt="0"/>
      <dgm:spPr/>
    </dgm:pt>
    <dgm:pt modelId="{7C49B7EA-54A4-436F-B9E3-D6A669531CD9}" type="pres">
      <dgm:prSet presAssocID="{4ACEFCF5-B73C-4C47-AA72-BEE0BD9C5E8C}" presName="Accent1Text" presStyleLbl="node1" presStyleIdx="15" presStyleCnt="16"/>
      <dgm:spPr/>
    </dgm:pt>
  </dgm:ptLst>
  <dgm:cxnLst>
    <dgm:cxn modelId="{AF2CCE2F-0ED5-470C-AAB5-83177FB183D6}" srcId="{BF584864-670F-48A9-B425-A8E46B292EBD}" destId="{B4D8B19F-2731-4C2A-9024-0832DA435820}" srcOrd="4" destOrd="0" parTransId="{8BE7341E-BE63-4F44-A3C3-1AAE5C6AC5FA}" sibTransId="{79195F7A-FC5F-49B4-A78C-029CFFBE413B}"/>
    <dgm:cxn modelId="{C30BFC30-5498-4C22-95CC-A02E2FD41876}" type="presOf" srcId="{2C42A08C-5ABE-4BDF-AA3B-AA2AA8A68CA5}" destId="{18CC23A1-A4E2-4029-86D2-BAC213F76DF1}" srcOrd="0" destOrd="0" presId="urn:microsoft.com/office/officeart/2008/layout/AlternatingHexagons"/>
    <dgm:cxn modelId="{A1711333-109A-4322-B466-E253319B1408}" type="presOf" srcId="{B4D8B19F-2731-4C2A-9024-0832DA435820}" destId="{EA0210F3-54B2-4257-879E-A0DAC4A427C1}" srcOrd="0" destOrd="0" presId="urn:microsoft.com/office/officeart/2008/layout/AlternatingHexagons"/>
    <dgm:cxn modelId="{5E766C3E-DD18-4465-ADA9-BB0F8839BBC5}" type="presOf" srcId="{965215F1-7588-4BED-B2D2-AB67C099DB33}" destId="{B6208E63-9883-49A8-999F-44153477C96B}" srcOrd="0" destOrd="0" presId="urn:microsoft.com/office/officeart/2008/layout/AlternatingHexagons"/>
    <dgm:cxn modelId="{85D28B46-87E6-4C06-993C-4E6C9474B316}" type="presOf" srcId="{2D5E313C-6A68-4D88-B242-FF9D0EFB2F90}" destId="{1E88BF92-0D33-460C-AD4B-71504852446E}" srcOrd="0" destOrd="0" presId="urn:microsoft.com/office/officeart/2008/layout/AlternatingHexagons"/>
    <dgm:cxn modelId="{98867152-878E-404D-849F-5FECE35A00FE}" type="presOf" srcId="{81F65D0B-750A-4315-B830-7515706B071D}" destId="{5E25806B-4E7E-4867-94D4-AE7DB02BC03D}" srcOrd="0" destOrd="0" presId="urn:microsoft.com/office/officeart/2008/layout/AlternatingHexagons"/>
    <dgm:cxn modelId="{FC9F1C57-71C5-43B1-9497-9A9C3ACA0219}" type="presOf" srcId="{D14F26E0-D4DF-4FD3-8430-6FC4725B0A2D}" destId="{C5938DD3-E7CA-4820-8FEA-9E006DBA69B2}" srcOrd="0" destOrd="0" presId="urn:microsoft.com/office/officeart/2008/layout/AlternatingHexagons"/>
    <dgm:cxn modelId="{3E59FE63-EC9E-4CDA-9355-F40C60932E5D}" type="presOf" srcId="{68DAF84C-FBB4-46A1-8584-5A0F8B935C66}" destId="{EB293D36-6CA3-4FA4-9ECE-B321C3B573C2}" srcOrd="0" destOrd="0" presId="urn:microsoft.com/office/officeart/2008/layout/AlternatingHexagons"/>
    <dgm:cxn modelId="{74A3396C-59FF-469D-8067-7F1D2FA114F4}" srcId="{BF584864-670F-48A9-B425-A8E46B292EBD}" destId="{68DAF84C-FBB4-46A1-8584-5A0F8B935C66}" srcOrd="5" destOrd="0" parTransId="{BA15D44C-5508-4093-A656-81D77C0D8E25}" sibTransId="{E3B615A6-03A8-45E6-A89C-DB6CA94418DE}"/>
    <dgm:cxn modelId="{D5643571-CF7A-43E2-8F5F-AFD0903B5F48}" srcId="{BF584864-670F-48A9-B425-A8E46B292EBD}" destId="{2D5E313C-6A68-4D88-B242-FF9D0EFB2F90}" srcOrd="7" destOrd="0" parTransId="{B619B8B5-BB1B-4E02-A76E-00E6C2F03CFB}" sibTransId="{4ACEFCF5-B73C-4C47-AA72-BEE0BD9C5E8C}"/>
    <dgm:cxn modelId="{CC322973-FB29-4FD0-91CC-6D23CBC4B83B}" srcId="{BF584864-670F-48A9-B425-A8E46B292EBD}" destId="{D14F26E0-D4DF-4FD3-8430-6FC4725B0A2D}" srcOrd="2" destOrd="0" parTransId="{AE99402C-BC8A-44E6-846C-E229B3C60609}" sibTransId="{6F794DDC-4301-4537-BAC7-0FA014C246ED}"/>
    <dgm:cxn modelId="{89BB9377-D54F-4AD0-9B64-B26E6CDE4BD0}" type="presOf" srcId="{E9F3ED8E-C003-4025-B508-6853B72F4DC2}" destId="{B2D4B433-D298-44EA-B7C1-54F109177D9D}" srcOrd="0" destOrd="0" presId="urn:microsoft.com/office/officeart/2008/layout/AlternatingHexagons"/>
    <dgm:cxn modelId="{07E2C890-3C9A-4012-8040-91C712883D0F}" type="presOf" srcId="{0EAB71E4-320A-4513-A824-6D806B012195}" destId="{4F925BDA-57CF-4169-A1CC-7CE846F737B4}" srcOrd="0" destOrd="0" presId="urn:microsoft.com/office/officeart/2008/layout/AlternatingHexagons"/>
    <dgm:cxn modelId="{3FC492A9-00E6-4E3C-9020-FDD955FC404E}" type="presOf" srcId="{05E7A749-1B4F-411C-A606-2CF02C8F51DC}" destId="{D42FE044-36F6-4B1A-83F3-0A204B27EC5A}" srcOrd="0" destOrd="0" presId="urn:microsoft.com/office/officeart/2008/layout/AlternatingHexagons"/>
    <dgm:cxn modelId="{9806A0B5-61C1-44F5-A3FD-70E6588BCD6C}" type="presOf" srcId="{4ACEFCF5-B73C-4C47-AA72-BEE0BD9C5E8C}" destId="{7C49B7EA-54A4-436F-B9E3-D6A669531CD9}" srcOrd="0" destOrd="0" presId="urn:microsoft.com/office/officeart/2008/layout/AlternatingHexagons"/>
    <dgm:cxn modelId="{F7CCCEC2-77DB-4263-BDE4-4AE4AC78128F}" type="presOf" srcId="{6F794DDC-4301-4537-BAC7-0FA014C246ED}" destId="{9E6BDFCC-9140-413B-A6AB-6429F0F4A722}" srcOrd="0" destOrd="0" presId="urn:microsoft.com/office/officeart/2008/layout/AlternatingHexagons"/>
    <dgm:cxn modelId="{5E9ECBCB-485F-4B84-A419-B378D503E6C6}" type="presOf" srcId="{79195F7A-FC5F-49B4-A78C-029CFFBE413B}" destId="{F94D4004-292C-45D0-A759-91EAB0110767}" srcOrd="0" destOrd="0" presId="urn:microsoft.com/office/officeart/2008/layout/AlternatingHexagons"/>
    <dgm:cxn modelId="{7BC098CE-0C3E-4BA2-83C3-A8924A121EF5}" srcId="{BF584864-670F-48A9-B425-A8E46B292EBD}" destId="{DBEA0C18-DADD-4B4E-BE7E-4D5362552716}" srcOrd="3" destOrd="0" parTransId="{8139B9CD-CE55-4D25-9DFF-2BA10029F144}" sibTransId="{049C1BA6-C584-4D48-B4BF-CE1C14501EB3}"/>
    <dgm:cxn modelId="{482673D3-58F3-49D5-B458-35212A6952FC}" type="presOf" srcId="{DBEA0C18-DADD-4B4E-BE7E-4D5362552716}" destId="{EA82ED9E-941D-4887-B086-8723625E62FF}" srcOrd="0" destOrd="0" presId="urn:microsoft.com/office/officeart/2008/layout/AlternatingHexagons"/>
    <dgm:cxn modelId="{1F32AADF-2A06-44E2-9654-D04AD02BDF75}" type="presOf" srcId="{BF584864-670F-48A9-B425-A8E46B292EBD}" destId="{75479A6E-9ED2-4629-B587-B34555E0CB5F}" srcOrd="0" destOrd="0" presId="urn:microsoft.com/office/officeart/2008/layout/AlternatingHexagons"/>
    <dgm:cxn modelId="{2E004FE1-D34D-4187-8A7B-EE8BEFF2BD2A}" srcId="{BF584864-670F-48A9-B425-A8E46B292EBD}" destId="{0EAB71E4-320A-4513-A824-6D806B012195}" srcOrd="6" destOrd="0" parTransId="{8C657463-718E-4C3F-9B28-ED865D4F6B3D}" sibTransId="{81F65D0B-750A-4315-B830-7515706B071D}"/>
    <dgm:cxn modelId="{45150DE5-83B4-4C0B-9312-FCE5BB75FB60}" srcId="{BF584864-670F-48A9-B425-A8E46B292EBD}" destId="{E9F3ED8E-C003-4025-B508-6853B72F4DC2}" srcOrd="1" destOrd="0" parTransId="{382434F9-C33A-4567-9F99-E88A52F7E38F}" sibTransId="{2C42A08C-5ABE-4BDF-AA3B-AA2AA8A68CA5}"/>
    <dgm:cxn modelId="{968E0CEE-1030-4AA3-8C46-CFA922557639}" type="presOf" srcId="{049C1BA6-C584-4D48-B4BF-CE1C14501EB3}" destId="{BDA5F59E-2DC7-41F4-BF84-51FEFEFF3359}" srcOrd="0" destOrd="0" presId="urn:microsoft.com/office/officeart/2008/layout/AlternatingHexagons"/>
    <dgm:cxn modelId="{A98820F3-0BEF-42EF-9FB0-180148ED2C09}" srcId="{BF584864-670F-48A9-B425-A8E46B292EBD}" destId="{965215F1-7588-4BED-B2D2-AB67C099DB33}" srcOrd="0" destOrd="0" parTransId="{D6CE316A-1141-48D3-9A41-89820DE79D41}" sibTransId="{05E7A749-1B4F-411C-A606-2CF02C8F51DC}"/>
    <dgm:cxn modelId="{EAF30BFF-9A08-4D68-A506-6A84D4C895E9}" type="presOf" srcId="{E3B615A6-03A8-45E6-A89C-DB6CA94418DE}" destId="{2FE88100-5B10-400C-8C7B-FC2F666E0CD8}" srcOrd="0" destOrd="0" presId="urn:microsoft.com/office/officeart/2008/layout/AlternatingHexagons"/>
    <dgm:cxn modelId="{C4BEC4BC-86A6-46EE-BC5F-E461CD1CAF6C}" type="presParOf" srcId="{75479A6E-9ED2-4629-B587-B34555E0CB5F}" destId="{84077678-5098-48EE-B4BF-B1CE695BEA28}" srcOrd="0" destOrd="0" presId="urn:microsoft.com/office/officeart/2008/layout/AlternatingHexagons"/>
    <dgm:cxn modelId="{E5F41205-FB19-4683-BB61-F9FF2B9AB157}" type="presParOf" srcId="{84077678-5098-48EE-B4BF-B1CE695BEA28}" destId="{B6208E63-9883-49A8-999F-44153477C96B}" srcOrd="0" destOrd="0" presId="urn:microsoft.com/office/officeart/2008/layout/AlternatingHexagons"/>
    <dgm:cxn modelId="{AAD00EC4-CAE6-4B25-BCA5-F4D3DCB07203}" type="presParOf" srcId="{84077678-5098-48EE-B4BF-B1CE695BEA28}" destId="{990409F4-3ED9-4A4F-BE43-E88BB8DF034B}" srcOrd="1" destOrd="0" presId="urn:microsoft.com/office/officeart/2008/layout/AlternatingHexagons"/>
    <dgm:cxn modelId="{FAC4F6B7-D19B-4079-AC3D-82E193824921}" type="presParOf" srcId="{84077678-5098-48EE-B4BF-B1CE695BEA28}" destId="{80B41D31-A749-46BD-A004-CA558FC36E24}" srcOrd="2" destOrd="0" presId="urn:microsoft.com/office/officeart/2008/layout/AlternatingHexagons"/>
    <dgm:cxn modelId="{0684D46A-84B6-49AD-B369-38B1FC0F5C78}" type="presParOf" srcId="{84077678-5098-48EE-B4BF-B1CE695BEA28}" destId="{76A0A87E-B08E-4E8B-981C-0C10F23BF5F8}" srcOrd="3" destOrd="0" presId="urn:microsoft.com/office/officeart/2008/layout/AlternatingHexagons"/>
    <dgm:cxn modelId="{78E817EC-5BAC-4CFC-BA03-F0F5E638C6B4}" type="presParOf" srcId="{84077678-5098-48EE-B4BF-B1CE695BEA28}" destId="{D42FE044-36F6-4B1A-83F3-0A204B27EC5A}" srcOrd="4" destOrd="0" presId="urn:microsoft.com/office/officeart/2008/layout/AlternatingHexagons"/>
    <dgm:cxn modelId="{79133818-435B-41FF-B73F-F0B7C7FDD982}" type="presParOf" srcId="{75479A6E-9ED2-4629-B587-B34555E0CB5F}" destId="{09472863-BF8A-4337-B5F6-78F6489D04F3}" srcOrd="1" destOrd="0" presId="urn:microsoft.com/office/officeart/2008/layout/AlternatingHexagons"/>
    <dgm:cxn modelId="{E293BA9A-6C91-4935-ACFD-DC1F06B031C6}" type="presParOf" srcId="{75479A6E-9ED2-4629-B587-B34555E0CB5F}" destId="{DC93ED03-50D3-4B76-B87B-FD06BC18CF63}" srcOrd="2" destOrd="0" presId="urn:microsoft.com/office/officeart/2008/layout/AlternatingHexagons"/>
    <dgm:cxn modelId="{3F29EA24-123D-4F80-8949-EE2A7D59B83A}" type="presParOf" srcId="{DC93ED03-50D3-4B76-B87B-FD06BC18CF63}" destId="{B2D4B433-D298-44EA-B7C1-54F109177D9D}" srcOrd="0" destOrd="0" presId="urn:microsoft.com/office/officeart/2008/layout/AlternatingHexagons"/>
    <dgm:cxn modelId="{7B9157A6-2E5B-40EF-9CD7-A4E734E40B06}" type="presParOf" srcId="{DC93ED03-50D3-4B76-B87B-FD06BC18CF63}" destId="{CC41F34A-F437-4731-A44D-A0ADDB9FF299}" srcOrd="1" destOrd="0" presId="urn:microsoft.com/office/officeart/2008/layout/AlternatingHexagons"/>
    <dgm:cxn modelId="{869D7030-9763-441F-A9E6-EF2D6E3CFB8D}" type="presParOf" srcId="{DC93ED03-50D3-4B76-B87B-FD06BC18CF63}" destId="{564DDF25-CF44-4097-99FA-B3FDFDEB28FC}" srcOrd="2" destOrd="0" presId="urn:microsoft.com/office/officeart/2008/layout/AlternatingHexagons"/>
    <dgm:cxn modelId="{65A7FC09-ED2C-4302-A3B5-CB406CED88E0}" type="presParOf" srcId="{DC93ED03-50D3-4B76-B87B-FD06BC18CF63}" destId="{FC4999BA-5AB6-4AB5-94E3-E0511A01B13A}" srcOrd="3" destOrd="0" presId="urn:microsoft.com/office/officeart/2008/layout/AlternatingHexagons"/>
    <dgm:cxn modelId="{27082A38-6221-4E20-95B1-55BAA392E927}" type="presParOf" srcId="{DC93ED03-50D3-4B76-B87B-FD06BC18CF63}" destId="{18CC23A1-A4E2-4029-86D2-BAC213F76DF1}" srcOrd="4" destOrd="0" presId="urn:microsoft.com/office/officeart/2008/layout/AlternatingHexagons"/>
    <dgm:cxn modelId="{0899787E-CE3D-41C1-B7E4-303A0DF07F3E}" type="presParOf" srcId="{75479A6E-9ED2-4629-B587-B34555E0CB5F}" destId="{68CCE64D-91AD-4B8D-BC8E-25730BF2C775}" srcOrd="3" destOrd="0" presId="urn:microsoft.com/office/officeart/2008/layout/AlternatingHexagons"/>
    <dgm:cxn modelId="{35AC26A8-E45E-42ED-B8A8-A5A3F5B4AD7F}" type="presParOf" srcId="{75479A6E-9ED2-4629-B587-B34555E0CB5F}" destId="{94EDB390-7F8D-4A60-B1B6-B78E27249838}" srcOrd="4" destOrd="0" presId="urn:microsoft.com/office/officeart/2008/layout/AlternatingHexagons"/>
    <dgm:cxn modelId="{A3A728AB-3BBE-4BD2-992B-9A5F19822100}" type="presParOf" srcId="{94EDB390-7F8D-4A60-B1B6-B78E27249838}" destId="{C5938DD3-E7CA-4820-8FEA-9E006DBA69B2}" srcOrd="0" destOrd="0" presId="urn:microsoft.com/office/officeart/2008/layout/AlternatingHexagons"/>
    <dgm:cxn modelId="{EDE315C4-EC2E-46D6-87F8-569B67FBC509}" type="presParOf" srcId="{94EDB390-7F8D-4A60-B1B6-B78E27249838}" destId="{78E68F24-F713-47A9-BE10-184FE30DB7C8}" srcOrd="1" destOrd="0" presId="urn:microsoft.com/office/officeart/2008/layout/AlternatingHexagons"/>
    <dgm:cxn modelId="{189A6453-7CD7-423B-BEE7-44963200BA81}" type="presParOf" srcId="{94EDB390-7F8D-4A60-B1B6-B78E27249838}" destId="{BB75BFC9-C0D2-4924-BAD2-42D1E47F6A63}" srcOrd="2" destOrd="0" presId="urn:microsoft.com/office/officeart/2008/layout/AlternatingHexagons"/>
    <dgm:cxn modelId="{97065C43-1630-4311-A9AF-07487C9436DB}" type="presParOf" srcId="{94EDB390-7F8D-4A60-B1B6-B78E27249838}" destId="{D5235FC7-C69E-489D-80B9-A811938FEB4F}" srcOrd="3" destOrd="0" presId="urn:microsoft.com/office/officeart/2008/layout/AlternatingHexagons"/>
    <dgm:cxn modelId="{FC221806-89D2-44DF-B67A-6D11B7C63413}" type="presParOf" srcId="{94EDB390-7F8D-4A60-B1B6-B78E27249838}" destId="{9E6BDFCC-9140-413B-A6AB-6429F0F4A722}" srcOrd="4" destOrd="0" presId="urn:microsoft.com/office/officeart/2008/layout/AlternatingHexagons"/>
    <dgm:cxn modelId="{BFCDBD33-D6F9-4F3C-8B94-A326BAD641FF}" type="presParOf" srcId="{75479A6E-9ED2-4629-B587-B34555E0CB5F}" destId="{E7D9742F-5E7A-41C0-84D5-E0B46E85DA7B}" srcOrd="5" destOrd="0" presId="urn:microsoft.com/office/officeart/2008/layout/AlternatingHexagons"/>
    <dgm:cxn modelId="{B598C893-B3A4-4EAA-B72E-1B9CD43114F3}" type="presParOf" srcId="{75479A6E-9ED2-4629-B587-B34555E0CB5F}" destId="{28BD58CE-7A2F-450B-BE61-7E4B5BC7F4A7}" srcOrd="6" destOrd="0" presId="urn:microsoft.com/office/officeart/2008/layout/AlternatingHexagons"/>
    <dgm:cxn modelId="{40F5DE10-E37B-428A-B0AB-8AD5D9AEA407}" type="presParOf" srcId="{28BD58CE-7A2F-450B-BE61-7E4B5BC7F4A7}" destId="{EA82ED9E-941D-4887-B086-8723625E62FF}" srcOrd="0" destOrd="0" presId="urn:microsoft.com/office/officeart/2008/layout/AlternatingHexagons"/>
    <dgm:cxn modelId="{507C20C7-7ACE-4DE3-90A3-97B29E791B4D}" type="presParOf" srcId="{28BD58CE-7A2F-450B-BE61-7E4B5BC7F4A7}" destId="{28DF919B-B4EA-47D4-B70F-C0FDC5ADF9EA}" srcOrd="1" destOrd="0" presId="urn:microsoft.com/office/officeart/2008/layout/AlternatingHexagons"/>
    <dgm:cxn modelId="{65D1365F-F830-44C7-9543-517C57412EFE}" type="presParOf" srcId="{28BD58CE-7A2F-450B-BE61-7E4B5BC7F4A7}" destId="{57E7802C-9A09-492F-92CF-CA90B23A7A38}" srcOrd="2" destOrd="0" presId="urn:microsoft.com/office/officeart/2008/layout/AlternatingHexagons"/>
    <dgm:cxn modelId="{38A40AD0-07BA-4F8C-A544-4F0DDA7C2443}" type="presParOf" srcId="{28BD58CE-7A2F-450B-BE61-7E4B5BC7F4A7}" destId="{90AD4BAD-80A7-4404-A680-2AFD18CC7D96}" srcOrd="3" destOrd="0" presId="urn:microsoft.com/office/officeart/2008/layout/AlternatingHexagons"/>
    <dgm:cxn modelId="{47841CF3-6417-46B1-8563-1DC73EBF0301}" type="presParOf" srcId="{28BD58CE-7A2F-450B-BE61-7E4B5BC7F4A7}" destId="{BDA5F59E-2DC7-41F4-BF84-51FEFEFF3359}" srcOrd="4" destOrd="0" presId="urn:microsoft.com/office/officeart/2008/layout/AlternatingHexagons"/>
    <dgm:cxn modelId="{4710AA3D-F257-4786-8ADE-1B140AE1D603}" type="presParOf" srcId="{75479A6E-9ED2-4629-B587-B34555E0CB5F}" destId="{586BA31D-EA7B-4CF7-8A6C-6EF2652629B5}" srcOrd="7" destOrd="0" presId="urn:microsoft.com/office/officeart/2008/layout/AlternatingHexagons"/>
    <dgm:cxn modelId="{5E183297-05C0-47BA-8A02-418DCDC5E09E}" type="presParOf" srcId="{75479A6E-9ED2-4629-B587-B34555E0CB5F}" destId="{FE00A446-F8BB-4337-87BC-76FF4957630F}" srcOrd="8" destOrd="0" presId="urn:microsoft.com/office/officeart/2008/layout/AlternatingHexagons"/>
    <dgm:cxn modelId="{46B68130-FC1C-444D-BDB6-B6C1BA95E5B1}" type="presParOf" srcId="{FE00A446-F8BB-4337-87BC-76FF4957630F}" destId="{EA0210F3-54B2-4257-879E-A0DAC4A427C1}" srcOrd="0" destOrd="0" presId="urn:microsoft.com/office/officeart/2008/layout/AlternatingHexagons"/>
    <dgm:cxn modelId="{A7847C83-0442-4909-8054-FDDE8F8B646B}" type="presParOf" srcId="{FE00A446-F8BB-4337-87BC-76FF4957630F}" destId="{8A4950F4-7C3D-438A-B816-BD3F5905B5ED}" srcOrd="1" destOrd="0" presId="urn:microsoft.com/office/officeart/2008/layout/AlternatingHexagons"/>
    <dgm:cxn modelId="{4601EFBC-B67A-436A-A3B5-05F87A125ACD}" type="presParOf" srcId="{FE00A446-F8BB-4337-87BC-76FF4957630F}" destId="{17311F30-7708-4CF6-8D65-8DE49AFFCD3D}" srcOrd="2" destOrd="0" presId="urn:microsoft.com/office/officeart/2008/layout/AlternatingHexagons"/>
    <dgm:cxn modelId="{5ED6DAB7-4642-44F3-845C-029631203B59}" type="presParOf" srcId="{FE00A446-F8BB-4337-87BC-76FF4957630F}" destId="{95EFAAC2-1C03-4F1D-A547-71A381B387DE}" srcOrd="3" destOrd="0" presId="urn:microsoft.com/office/officeart/2008/layout/AlternatingHexagons"/>
    <dgm:cxn modelId="{60EE0E88-370E-44E8-96B9-ACA8DAAF1D7E}" type="presParOf" srcId="{FE00A446-F8BB-4337-87BC-76FF4957630F}" destId="{F94D4004-292C-45D0-A759-91EAB0110767}" srcOrd="4" destOrd="0" presId="urn:microsoft.com/office/officeart/2008/layout/AlternatingHexagons"/>
    <dgm:cxn modelId="{ED7245F7-EB1D-4B4F-9050-13FE5BF84955}" type="presParOf" srcId="{75479A6E-9ED2-4629-B587-B34555E0CB5F}" destId="{AA61E23C-B5AF-4511-9AFA-DFA4AAF9E78A}" srcOrd="9" destOrd="0" presId="urn:microsoft.com/office/officeart/2008/layout/AlternatingHexagons"/>
    <dgm:cxn modelId="{988D8633-D897-40CB-9D14-E9D6A8C5692A}" type="presParOf" srcId="{75479A6E-9ED2-4629-B587-B34555E0CB5F}" destId="{C2C69595-ED65-4B6E-97C2-728DA5F49009}" srcOrd="10" destOrd="0" presId="urn:microsoft.com/office/officeart/2008/layout/AlternatingHexagons"/>
    <dgm:cxn modelId="{37A34DA5-E4AF-41BF-9B55-A6BE2DBA8E9E}" type="presParOf" srcId="{C2C69595-ED65-4B6E-97C2-728DA5F49009}" destId="{EB293D36-6CA3-4FA4-9ECE-B321C3B573C2}" srcOrd="0" destOrd="0" presId="urn:microsoft.com/office/officeart/2008/layout/AlternatingHexagons"/>
    <dgm:cxn modelId="{15749D54-5D62-46B9-B732-0285D8EB0DEE}" type="presParOf" srcId="{C2C69595-ED65-4B6E-97C2-728DA5F49009}" destId="{51A2C38F-9A18-4AB7-9B26-FF63B7FA5236}" srcOrd="1" destOrd="0" presId="urn:microsoft.com/office/officeart/2008/layout/AlternatingHexagons"/>
    <dgm:cxn modelId="{B9E0CBFB-EA0C-4854-BE70-634966414980}" type="presParOf" srcId="{C2C69595-ED65-4B6E-97C2-728DA5F49009}" destId="{4675EF0B-E176-4102-B57A-F4513FC88DAA}" srcOrd="2" destOrd="0" presId="urn:microsoft.com/office/officeart/2008/layout/AlternatingHexagons"/>
    <dgm:cxn modelId="{BC760C90-CD3C-4733-9DBF-18C7CB268B7E}" type="presParOf" srcId="{C2C69595-ED65-4B6E-97C2-728DA5F49009}" destId="{568FCAAB-904D-4459-8997-78243ADA99E7}" srcOrd="3" destOrd="0" presId="urn:microsoft.com/office/officeart/2008/layout/AlternatingHexagons"/>
    <dgm:cxn modelId="{24577C2E-B935-447A-8BAB-EF242BBAC97D}" type="presParOf" srcId="{C2C69595-ED65-4B6E-97C2-728DA5F49009}" destId="{2FE88100-5B10-400C-8C7B-FC2F666E0CD8}" srcOrd="4" destOrd="0" presId="urn:microsoft.com/office/officeart/2008/layout/AlternatingHexagons"/>
    <dgm:cxn modelId="{1F801E6E-5A7C-4BA0-9B92-BDA78EFD9CF4}" type="presParOf" srcId="{75479A6E-9ED2-4629-B587-B34555E0CB5F}" destId="{0A97F59F-7AAB-4E80-83BC-AFE2841923DF}" srcOrd="11" destOrd="0" presId="urn:microsoft.com/office/officeart/2008/layout/AlternatingHexagons"/>
    <dgm:cxn modelId="{43A66409-C77F-42F4-B255-9BCD0AE5B0F8}" type="presParOf" srcId="{75479A6E-9ED2-4629-B587-B34555E0CB5F}" destId="{B3CEE9A7-D4D0-4469-9FDD-B87CDE4C0F93}" srcOrd="12" destOrd="0" presId="urn:microsoft.com/office/officeart/2008/layout/AlternatingHexagons"/>
    <dgm:cxn modelId="{0C980136-0E14-4C8B-87AA-A0D310F20271}" type="presParOf" srcId="{B3CEE9A7-D4D0-4469-9FDD-B87CDE4C0F93}" destId="{4F925BDA-57CF-4169-A1CC-7CE846F737B4}" srcOrd="0" destOrd="0" presId="urn:microsoft.com/office/officeart/2008/layout/AlternatingHexagons"/>
    <dgm:cxn modelId="{A5505C6C-30DD-4C1C-A3B7-6EAF56FEAFA5}" type="presParOf" srcId="{B3CEE9A7-D4D0-4469-9FDD-B87CDE4C0F93}" destId="{4093AC92-4D37-417C-9E2E-1AE6ED8B5870}" srcOrd="1" destOrd="0" presId="urn:microsoft.com/office/officeart/2008/layout/AlternatingHexagons"/>
    <dgm:cxn modelId="{77E6391C-EC4D-4194-A4C3-8379621FCF00}" type="presParOf" srcId="{B3CEE9A7-D4D0-4469-9FDD-B87CDE4C0F93}" destId="{49BCD296-A247-438E-AF6C-31E877B6C9AF}" srcOrd="2" destOrd="0" presId="urn:microsoft.com/office/officeart/2008/layout/AlternatingHexagons"/>
    <dgm:cxn modelId="{9971137D-A8F7-43C5-83F4-36220A3D1EF5}" type="presParOf" srcId="{B3CEE9A7-D4D0-4469-9FDD-B87CDE4C0F93}" destId="{DADF8C43-87CA-4525-A199-BA897BB7965E}" srcOrd="3" destOrd="0" presId="urn:microsoft.com/office/officeart/2008/layout/AlternatingHexagons"/>
    <dgm:cxn modelId="{66BABD59-5797-4382-A68C-4D8DB8E279FE}" type="presParOf" srcId="{B3CEE9A7-D4D0-4469-9FDD-B87CDE4C0F93}" destId="{5E25806B-4E7E-4867-94D4-AE7DB02BC03D}" srcOrd="4" destOrd="0" presId="urn:microsoft.com/office/officeart/2008/layout/AlternatingHexagons"/>
    <dgm:cxn modelId="{AA1A9798-224F-4D19-8658-A712681657E8}" type="presParOf" srcId="{75479A6E-9ED2-4629-B587-B34555E0CB5F}" destId="{1E0BE098-5E0D-458C-AB20-BDAF0CA31169}" srcOrd="13" destOrd="0" presId="urn:microsoft.com/office/officeart/2008/layout/AlternatingHexagons"/>
    <dgm:cxn modelId="{19F6A58E-6017-47A8-B740-1552F63C4DCA}" type="presParOf" srcId="{75479A6E-9ED2-4629-B587-B34555E0CB5F}" destId="{C29B1B96-AFDF-44D7-AA3F-E631D61C3B4C}" srcOrd="14" destOrd="0" presId="urn:microsoft.com/office/officeart/2008/layout/AlternatingHexagons"/>
    <dgm:cxn modelId="{7E7E4BA8-24BB-4B7E-B794-B054EDBB43E2}" type="presParOf" srcId="{C29B1B96-AFDF-44D7-AA3F-E631D61C3B4C}" destId="{1E88BF92-0D33-460C-AD4B-71504852446E}" srcOrd="0" destOrd="0" presId="urn:microsoft.com/office/officeart/2008/layout/AlternatingHexagons"/>
    <dgm:cxn modelId="{8F3D0A0A-2189-44B8-8DBF-BC8A14FF4FBD}" type="presParOf" srcId="{C29B1B96-AFDF-44D7-AA3F-E631D61C3B4C}" destId="{A81AD8B4-AB67-4A88-8FA7-054E46B0DB35}" srcOrd="1" destOrd="0" presId="urn:microsoft.com/office/officeart/2008/layout/AlternatingHexagons"/>
    <dgm:cxn modelId="{A5288165-9C98-4285-9893-54A8058736BE}" type="presParOf" srcId="{C29B1B96-AFDF-44D7-AA3F-E631D61C3B4C}" destId="{BD46843F-EC69-4389-8853-90F7B9FA936E}" srcOrd="2" destOrd="0" presId="urn:microsoft.com/office/officeart/2008/layout/AlternatingHexagons"/>
    <dgm:cxn modelId="{19C0950A-63D3-4042-8511-055D60C8C573}" type="presParOf" srcId="{C29B1B96-AFDF-44D7-AA3F-E631D61C3B4C}" destId="{BAF73026-BE58-4876-8328-5A17AFBD5D0B}" srcOrd="3" destOrd="0" presId="urn:microsoft.com/office/officeart/2008/layout/AlternatingHexagons"/>
    <dgm:cxn modelId="{59454161-7584-4946-9819-84F98B62B730}" type="presParOf" srcId="{C29B1B96-AFDF-44D7-AA3F-E631D61C3B4C}" destId="{7C49B7EA-54A4-436F-B9E3-D6A669531CD9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488CDE39-E737-4444-8D30-E000635185EA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F2BF8A4-BAF3-4444-AB77-25055DF534F2}">
      <dgm:prSet/>
      <dgm:spPr/>
      <dgm:t>
        <a:bodyPr/>
        <a:lstStyle/>
        <a:p>
          <a:pPr rtl="0"/>
          <a:r>
            <a:rPr lang="en-US" dirty="0"/>
            <a:t>One month Ultrasound rotation during first year</a:t>
          </a:r>
        </a:p>
      </dgm:t>
    </dgm:pt>
    <dgm:pt modelId="{A7247B9F-73A2-4218-943D-E24A3A1F0F7F}" type="parTrans" cxnId="{028F09F3-2F5C-4CE7-846A-7C2AF9E313B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3DB3143-CC19-4816-B0B5-2B2A1365E17D}" type="sibTrans" cxnId="{028F09F3-2F5C-4CE7-846A-7C2AF9E313B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A9ED6B9-9C7B-4C26-BC93-0A1327018C8E}">
      <dgm:prSet/>
      <dgm:spPr/>
      <dgm:t>
        <a:bodyPr/>
        <a:lstStyle/>
        <a:p>
          <a:pPr rtl="0"/>
          <a:r>
            <a:rPr lang="en-US"/>
            <a:t>PEM</a:t>
          </a:r>
          <a:endParaRPr lang="en-US" dirty="0"/>
        </a:p>
      </dgm:t>
    </dgm:pt>
    <dgm:pt modelId="{7A7B06A7-7DD8-4929-A710-26A4A8D7632B}" type="parTrans" cxnId="{9FA1EB59-E9F6-4012-9EAB-9EADCADE13A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3C10387-E07E-4105-BB56-371BC98FB474}" type="sibTrans" cxnId="{9FA1EB59-E9F6-4012-9EAB-9EADCADE13A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8F7A42A-A987-4067-9696-21E4C633D127}">
      <dgm:prSet/>
      <dgm:spPr/>
      <dgm:t>
        <a:bodyPr/>
        <a:lstStyle/>
        <a:p>
          <a:pPr rtl="0"/>
          <a:r>
            <a:rPr lang="en-US"/>
            <a:t>Adult EM</a:t>
          </a:r>
          <a:endParaRPr lang="en-US" dirty="0"/>
        </a:p>
      </dgm:t>
    </dgm:pt>
    <dgm:pt modelId="{AB00A361-AD30-4441-95D2-D72B92C05477}" type="parTrans" cxnId="{DB152B99-3A25-4817-868C-A8C86B70FA9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2EC1AB4-B053-4DE1-B43F-E89760EBF190}" type="sibTrans" cxnId="{DB152B99-3A25-4817-868C-A8C86B70FA9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FE9AB14-9262-4BFB-879C-D62EB1E5FB28}">
      <dgm:prSet/>
      <dgm:spPr/>
      <dgm:t>
        <a:bodyPr/>
        <a:lstStyle/>
        <a:p>
          <a:pPr rtl="0"/>
          <a:r>
            <a:rPr lang="en-US"/>
            <a:t>Radiology</a:t>
          </a:r>
          <a:endParaRPr lang="en-US" dirty="0"/>
        </a:p>
      </dgm:t>
    </dgm:pt>
    <dgm:pt modelId="{398094FB-66AA-43A8-AEAE-6CCDF3D79106}" type="parTrans" cxnId="{D90DF8ED-0805-47F1-9BEA-308E500269BD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D58681C-6961-42F3-AEB3-0F68A0395637}" type="sibTrans" cxnId="{D90DF8ED-0805-47F1-9BEA-308E500269BD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3AD8503-FEE9-4732-B1AF-79B6ECB48705}">
      <dgm:prSet/>
      <dgm:spPr/>
      <dgm:t>
        <a:bodyPr/>
        <a:lstStyle/>
        <a:p>
          <a:pPr rtl="0"/>
          <a:r>
            <a:rPr lang="en-US"/>
            <a:t>Cardiology</a:t>
          </a:r>
          <a:endParaRPr lang="en-US" dirty="0"/>
        </a:p>
      </dgm:t>
    </dgm:pt>
    <dgm:pt modelId="{44A86E65-B032-4AE8-A792-0F7363795829}" type="parTrans" cxnId="{EBBD0EAC-3FC5-49ED-9752-4BBBEE1714F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1DFAB18-5EF3-48B0-A2C9-C746163E4A85}" type="sibTrans" cxnId="{EBBD0EAC-3FC5-49ED-9752-4BBBEE1714F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A2AB6EC-61AD-4D35-9711-0DC7343133B6}">
      <dgm:prSet/>
      <dgm:spPr/>
      <dgm:t>
        <a:bodyPr/>
        <a:lstStyle/>
        <a:p>
          <a:pPr rtl="0"/>
          <a:r>
            <a:rPr lang="en-US" dirty="0"/>
            <a:t>Ultrasound during your core PEM shifts and adult EM shifts</a:t>
          </a:r>
        </a:p>
      </dgm:t>
    </dgm:pt>
    <dgm:pt modelId="{10C5A461-270D-47A9-9626-909D849E2A6D}" type="parTrans" cxnId="{C377CAB2-0423-4668-B4AE-54BA1EF0105D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E05C5F1-28C4-46BC-B5F4-14FC5CFD5C2C}" type="sibTrans" cxnId="{C377CAB2-0423-4668-B4AE-54BA1EF0105D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1670E58-20C2-4609-AE80-CD0BB7DB77FF}">
      <dgm:prSet/>
      <dgm:spPr/>
      <dgm:t>
        <a:bodyPr/>
        <a:lstStyle/>
        <a:p>
          <a:pPr rtl="0"/>
          <a:r>
            <a:rPr lang="en-US"/>
            <a:t>Ultrasound research</a:t>
          </a:r>
          <a:endParaRPr lang="en-US" dirty="0"/>
        </a:p>
      </dgm:t>
    </dgm:pt>
    <dgm:pt modelId="{801DCDAA-E570-4E1B-A472-51BE9A949186}" type="parTrans" cxnId="{FFA14EA4-EACC-408F-BC13-14F7ADDF864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306ECD0-E9EE-45AA-BAA8-7A16CA2FC136}" type="sibTrans" cxnId="{FFA14EA4-EACC-408F-BC13-14F7ADDF864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EAE5F78-2A3A-4D63-A8B7-DCBD50EFA6F9}">
      <dgm:prSet/>
      <dgm:spPr/>
      <dgm:t>
        <a:bodyPr/>
        <a:lstStyle/>
        <a:p>
          <a:pPr rtl="0"/>
          <a:r>
            <a:rPr lang="en-US"/>
            <a:t>Ultrasound fellowship</a:t>
          </a:r>
          <a:endParaRPr lang="en-US" dirty="0"/>
        </a:p>
      </dgm:t>
    </dgm:pt>
    <dgm:pt modelId="{04FC2126-A5EA-4A11-9C23-921631A0A50F}" type="parTrans" cxnId="{5B499A91-BD3E-49E5-A277-1A2DC66A873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2937CC5-1A5C-4F13-9B17-A13CBA93843E}" type="sibTrans" cxnId="{5B499A91-BD3E-49E5-A277-1A2DC66A873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6BD9346B-1B3D-442A-A39E-FA1DF2EB2839}" type="pres">
      <dgm:prSet presAssocID="{488CDE39-E737-4444-8D30-E000635185EA}" presName="linear" presStyleCnt="0">
        <dgm:presLayoutVars>
          <dgm:animLvl val="lvl"/>
          <dgm:resizeHandles val="exact"/>
        </dgm:presLayoutVars>
      </dgm:prSet>
      <dgm:spPr/>
    </dgm:pt>
    <dgm:pt modelId="{299F2A73-05E3-4BC6-A769-54DFD2225263}" type="pres">
      <dgm:prSet presAssocID="{FF2BF8A4-BAF3-4444-AB77-25055DF534F2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6B1E5CD7-FA8B-4B90-912C-CDDD5CBEFD25}" type="pres">
      <dgm:prSet presAssocID="{FF2BF8A4-BAF3-4444-AB77-25055DF534F2}" presName="childText" presStyleLbl="revTx" presStyleIdx="0" presStyleCnt="1">
        <dgm:presLayoutVars>
          <dgm:bulletEnabled val="1"/>
        </dgm:presLayoutVars>
      </dgm:prSet>
      <dgm:spPr/>
    </dgm:pt>
    <dgm:pt modelId="{910B1DAA-B8E0-4F6D-A936-52C87D4D22D6}" type="pres">
      <dgm:prSet presAssocID="{DA2AB6EC-61AD-4D35-9711-0DC7343133B6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50B56C58-BE70-40E8-8D49-E67986D634F9}" type="pres">
      <dgm:prSet presAssocID="{FE05C5F1-28C4-46BC-B5F4-14FC5CFD5C2C}" presName="spacer" presStyleCnt="0"/>
      <dgm:spPr/>
    </dgm:pt>
    <dgm:pt modelId="{A50A7CC8-05C6-40D1-B7A8-68DA9405A4EA}" type="pres">
      <dgm:prSet presAssocID="{91670E58-20C2-4609-AE80-CD0BB7DB77FF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0EB8F65E-34E6-43FF-BA70-E99CD653112A}" type="pres">
      <dgm:prSet presAssocID="{5306ECD0-E9EE-45AA-BAA8-7A16CA2FC136}" presName="spacer" presStyleCnt="0"/>
      <dgm:spPr/>
    </dgm:pt>
    <dgm:pt modelId="{359CF9CC-58C7-4540-A4D0-8ED41A27794E}" type="pres">
      <dgm:prSet presAssocID="{FEAE5F78-2A3A-4D63-A8B7-DCBD50EFA6F9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36DD173A-58FB-48BD-A759-5EDC772B03D2}" type="presOf" srcId="{2A9ED6B9-9C7B-4C26-BC93-0A1327018C8E}" destId="{6B1E5CD7-FA8B-4B90-912C-CDDD5CBEFD25}" srcOrd="0" destOrd="0" presId="urn:microsoft.com/office/officeart/2005/8/layout/vList2"/>
    <dgm:cxn modelId="{9FA1EB59-E9F6-4012-9EAB-9EADCADE13AE}" srcId="{FF2BF8A4-BAF3-4444-AB77-25055DF534F2}" destId="{2A9ED6B9-9C7B-4C26-BC93-0A1327018C8E}" srcOrd="0" destOrd="0" parTransId="{7A7B06A7-7DD8-4929-A710-26A4A8D7632B}" sibTransId="{D3C10387-E07E-4105-BB56-371BC98FB474}"/>
    <dgm:cxn modelId="{3858EE86-10A2-4AAC-B76C-AE67197C2340}" type="presOf" srcId="{28F7A42A-A987-4067-9696-21E4C633D127}" destId="{6B1E5CD7-FA8B-4B90-912C-CDDD5CBEFD25}" srcOrd="0" destOrd="1" presId="urn:microsoft.com/office/officeart/2005/8/layout/vList2"/>
    <dgm:cxn modelId="{5B499A91-BD3E-49E5-A277-1A2DC66A8732}" srcId="{488CDE39-E737-4444-8D30-E000635185EA}" destId="{FEAE5F78-2A3A-4D63-A8B7-DCBD50EFA6F9}" srcOrd="3" destOrd="0" parTransId="{04FC2126-A5EA-4A11-9C23-921631A0A50F}" sibTransId="{B2937CC5-1A5C-4F13-9B17-A13CBA93843E}"/>
    <dgm:cxn modelId="{66C1BC96-6820-4944-A13B-93C3464E2976}" type="presOf" srcId="{03AD8503-FEE9-4732-B1AF-79B6ECB48705}" destId="{6B1E5CD7-FA8B-4B90-912C-CDDD5CBEFD25}" srcOrd="0" destOrd="3" presId="urn:microsoft.com/office/officeart/2005/8/layout/vList2"/>
    <dgm:cxn modelId="{8FB40598-A328-49AC-BE40-75CC0FA1693B}" type="presOf" srcId="{FEAE5F78-2A3A-4D63-A8B7-DCBD50EFA6F9}" destId="{359CF9CC-58C7-4540-A4D0-8ED41A27794E}" srcOrd="0" destOrd="0" presId="urn:microsoft.com/office/officeart/2005/8/layout/vList2"/>
    <dgm:cxn modelId="{DB152B99-3A25-4817-868C-A8C86B70FA95}" srcId="{FF2BF8A4-BAF3-4444-AB77-25055DF534F2}" destId="{28F7A42A-A987-4067-9696-21E4C633D127}" srcOrd="1" destOrd="0" parTransId="{AB00A361-AD30-4441-95D2-D72B92C05477}" sibTransId="{52EC1AB4-B053-4DE1-B43F-E89760EBF190}"/>
    <dgm:cxn modelId="{13B0999F-F502-4306-8D0A-7A4E020F5F76}" type="presOf" srcId="{488CDE39-E737-4444-8D30-E000635185EA}" destId="{6BD9346B-1B3D-442A-A39E-FA1DF2EB2839}" srcOrd="0" destOrd="0" presId="urn:microsoft.com/office/officeart/2005/8/layout/vList2"/>
    <dgm:cxn modelId="{FFA14EA4-EACC-408F-BC13-14F7ADDF8640}" srcId="{488CDE39-E737-4444-8D30-E000635185EA}" destId="{91670E58-20C2-4609-AE80-CD0BB7DB77FF}" srcOrd="2" destOrd="0" parTransId="{801DCDAA-E570-4E1B-A472-51BE9A949186}" sibTransId="{5306ECD0-E9EE-45AA-BAA8-7A16CA2FC136}"/>
    <dgm:cxn modelId="{D648BBA8-53E9-4D20-8C99-1BB56A4757C0}" type="presOf" srcId="{DA2AB6EC-61AD-4D35-9711-0DC7343133B6}" destId="{910B1DAA-B8E0-4F6D-A936-52C87D4D22D6}" srcOrd="0" destOrd="0" presId="urn:microsoft.com/office/officeart/2005/8/layout/vList2"/>
    <dgm:cxn modelId="{EBBD0EAC-3FC5-49ED-9752-4BBBEE1714FF}" srcId="{FF2BF8A4-BAF3-4444-AB77-25055DF534F2}" destId="{03AD8503-FEE9-4732-B1AF-79B6ECB48705}" srcOrd="3" destOrd="0" parTransId="{44A86E65-B032-4AE8-A792-0F7363795829}" sibTransId="{D1DFAB18-5EF3-48B0-A2C9-C746163E4A85}"/>
    <dgm:cxn modelId="{C377CAB2-0423-4668-B4AE-54BA1EF0105D}" srcId="{488CDE39-E737-4444-8D30-E000635185EA}" destId="{DA2AB6EC-61AD-4D35-9711-0DC7343133B6}" srcOrd="1" destOrd="0" parTransId="{10C5A461-270D-47A9-9626-909D849E2A6D}" sibTransId="{FE05C5F1-28C4-46BC-B5F4-14FC5CFD5C2C}"/>
    <dgm:cxn modelId="{67DA26C7-D491-4E24-9B35-7AA9EFDCE9A2}" type="presOf" srcId="{91670E58-20C2-4609-AE80-CD0BB7DB77FF}" destId="{A50A7CC8-05C6-40D1-B7A8-68DA9405A4EA}" srcOrd="0" destOrd="0" presId="urn:microsoft.com/office/officeart/2005/8/layout/vList2"/>
    <dgm:cxn modelId="{DA1055CD-C651-477F-B010-256AC6DC545C}" type="presOf" srcId="{FFE9AB14-9262-4BFB-879C-D62EB1E5FB28}" destId="{6B1E5CD7-FA8B-4B90-912C-CDDD5CBEFD25}" srcOrd="0" destOrd="2" presId="urn:microsoft.com/office/officeart/2005/8/layout/vList2"/>
    <dgm:cxn modelId="{D90DF8ED-0805-47F1-9BEA-308E500269BD}" srcId="{FF2BF8A4-BAF3-4444-AB77-25055DF534F2}" destId="{FFE9AB14-9262-4BFB-879C-D62EB1E5FB28}" srcOrd="2" destOrd="0" parTransId="{398094FB-66AA-43A8-AEAE-6CCDF3D79106}" sibTransId="{5D58681C-6961-42F3-AEB3-0F68A0395637}"/>
    <dgm:cxn modelId="{028F09F3-2F5C-4CE7-846A-7C2AF9E313B7}" srcId="{488CDE39-E737-4444-8D30-E000635185EA}" destId="{FF2BF8A4-BAF3-4444-AB77-25055DF534F2}" srcOrd="0" destOrd="0" parTransId="{A7247B9F-73A2-4218-943D-E24A3A1F0F7F}" sibTransId="{F3DB3143-CC19-4816-B0B5-2B2A1365E17D}"/>
    <dgm:cxn modelId="{4DBE60F7-0021-439A-BD92-4EBC9FFD2E76}" type="presOf" srcId="{FF2BF8A4-BAF3-4444-AB77-25055DF534F2}" destId="{299F2A73-05E3-4BC6-A769-54DFD2225263}" srcOrd="0" destOrd="0" presId="urn:microsoft.com/office/officeart/2005/8/layout/vList2"/>
    <dgm:cxn modelId="{CD151BBC-5C23-4029-8E6C-064F126F5C93}" type="presParOf" srcId="{6BD9346B-1B3D-442A-A39E-FA1DF2EB2839}" destId="{299F2A73-05E3-4BC6-A769-54DFD2225263}" srcOrd="0" destOrd="0" presId="urn:microsoft.com/office/officeart/2005/8/layout/vList2"/>
    <dgm:cxn modelId="{5C657760-1EF6-44B4-AEC0-B270E6AC5015}" type="presParOf" srcId="{6BD9346B-1B3D-442A-A39E-FA1DF2EB2839}" destId="{6B1E5CD7-FA8B-4B90-912C-CDDD5CBEFD25}" srcOrd="1" destOrd="0" presId="urn:microsoft.com/office/officeart/2005/8/layout/vList2"/>
    <dgm:cxn modelId="{1B41AADA-BC09-4605-99EC-75BAA294D93F}" type="presParOf" srcId="{6BD9346B-1B3D-442A-A39E-FA1DF2EB2839}" destId="{910B1DAA-B8E0-4F6D-A936-52C87D4D22D6}" srcOrd="2" destOrd="0" presId="urn:microsoft.com/office/officeart/2005/8/layout/vList2"/>
    <dgm:cxn modelId="{6458F031-1C10-4A3B-90FE-477068A79BA3}" type="presParOf" srcId="{6BD9346B-1B3D-442A-A39E-FA1DF2EB2839}" destId="{50B56C58-BE70-40E8-8D49-E67986D634F9}" srcOrd="3" destOrd="0" presId="urn:microsoft.com/office/officeart/2005/8/layout/vList2"/>
    <dgm:cxn modelId="{BE19A287-AAF1-4F6E-B9E3-71890FB3DC89}" type="presParOf" srcId="{6BD9346B-1B3D-442A-A39E-FA1DF2EB2839}" destId="{A50A7CC8-05C6-40D1-B7A8-68DA9405A4EA}" srcOrd="4" destOrd="0" presId="urn:microsoft.com/office/officeart/2005/8/layout/vList2"/>
    <dgm:cxn modelId="{C122F42E-8C3C-4D41-9682-687A7D5D1235}" type="presParOf" srcId="{6BD9346B-1B3D-442A-A39E-FA1DF2EB2839}" destId="{0EB8F65E-34E6-43FF-BA70-E99CD653112A}" srcOrd="5" destOrd="0" presId="urn:microsoft.com/office/officeart/2005/8/layout/vList2"/>
    <dgm:cxn modelId="{BE4A0763-1B5A-4F69-981D-227C99853ED3}" type="presParOf" srcId="{6BD9346B-1B3D-442A-A39E-FA1DF2EB2839}" destId="{359CF9CC-58C7-4540-A4D0-8ED41A27794E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26D811D4-AAF6-47F0-8843-0831A5C24985}" type="doc">
      <dgm:prSet loTypeId="urn:microsoft.com/office/officeart/2005/8/layout/vList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E2F3459A-8DBD-40FE-9CBE-FC52766DC470}">
      <dgm:prSet custT="1"/>
      <dgm:spPr/>
      <dgm:t>
        <a:bodyPr/>
        <a:lstStyle/>
        <a:p>
          <a:pPr rtl="0"/>
          <a:r>
            <a:rPr lang="en-US" sz="2000" b="0" i="0" dirty="0"/>
            <a:t>Critically assess scientific merit of research protocols &amp; publications</a:t>
          </a:r>
        </a:p>
      </dgm:t>
    </dgm:pt>
    <dgm:pt modelId="{ED3F887D-37AB-42B0-B68C-9384F06C0DB4}" type="parTrans" cxnId="{45FD8F00-7D4E-4179-A58B-E77817AEC27E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7ABE8A52-763E-4CF0-9D53-1A72775B140C}" type="sibTrans" cxnId="{45FD8F00-7D4E-4179-A58B-E77817AEC27E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9B1BD14D-F58A-40B0-ABF2-3DDE350FB7E1}">
      <dgm:prSet custT="1"/>
      <dgm:spPr/>
      <dgm:t>
        <a:bodyPr/>
        <a:lstStyle/>
        <a:p>
          <a:pPr rtl="0"/>
          <a:r>
            <a:rPr lang="en-US" sz="2000" b="0" i="0" dirty="0"/>
            <a:t>Gain knowledge in basic clinical epidemiologic principles &amp; biostatistics</a:t>
          </a:r>
        </a:p>
      </dgm:t>
    </dgm:pt>
    <dgm:pt modelId="{BE13243D-C15A-4B18-9B0F-F69E29C83876}" type="parTrans" cxnId="{030438AE-FE2A-49A0-8245-C52519D98A99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A97EC460-D34F-444D-BECA-DE6FC2E76C42}" type="sibTrans" cxnId="{030438AE-FE2A-49A0-8245-C52519D98A99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6CFCA795-486F-4F45-8FFF-BE73747D71E8}">
      <dgm:prSet custT="1"/>
      <dgm:spPr/>
      <dgm:t>
        <a:bodyPr/>
        <a:lstStyle/>
        <a:p>
          <a:pPr rtl="0"/>
          <a:r>
            <a:rPr lang="en-US" sz="2000" b="0" i="0" dirty="0"/>
            <a:t>Explore non-traditional avenues for demonstrating scholarship</a:t>
          </a:r>
        </a:p>
      </dgm:t>
    </dgm:pt>
    <dgm:pt modelId="{320A50EE-06E5-4FEF-92AA-04E8DAE85B71}" type="parTrans" cxnId="{E0C28D38-BF02-4D95-9FC3-768D74E7A6F5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AAF2B1DB-1553-4C61-92B0-727422E0054A}" type="sibTrans" cxnId="{E0C28D38-BF02-4D95-9FC3-768D74E7A6F5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B431A221-E219-4459-9D86-5427EE78B73A}">
      <dgm:prSet custT="1"/>
      <dgm:spPr/>
      <dgm:t>
        <a:bodyPr/>
        <a:lstStyle/>
        <a:p>
          <a:pPr rtl="0"/>
          <a:r>
            <a:rPr lang="en-US" sz="2000" b="0" i="0" dirty="0"/>
            <a:t>Design &amp; conduct a hypothesis driven scholarly project</a:t>
          </a:r>
        </a:p>
      </dgm:t>
    </dgm:pt>
    <dgm:pt modelId="{4D2A208A-29AB-4F98-BDFC-EA190C248164}" type="parTrans" cxnId="{97E8D565-88EA-47E2-B326-32F392E1201F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AA1F44CD-9248-4AE5-B60F-3CA77926509B}" type="sibTrans" cxnId="{97E8D565-88EA-47E2-B326-32F392E1201F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B92D4873-E66B-40A3-9BA4-4429F384BFC1}">
      <dgm:prSet custT="1"/>
      <dgm:spPr/>
      <dgm:t>
        <a:bodyPr/>
        <a:lstStyle/>
        <a:p>
          <a:pPr rtl="0"/>
          <a:r>
            <a:rPr lang="en-US" sz="2000" b="0" i="0"/>
            <a:t>Analyze &amp; interpret data</a:t>
          </a:r>
        </a:p>
      </dgm:t>
    </dgm:pt>
    <dgm:pt modelId="{46CB79B1-6842-46AC-9527-DC0C85A471B2}" type="parTrans" cxnId="{3D60E7A5-49F2-4C1A-9404-D7D72927C13F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7AAC2EB3-0A3B-40D7-AC26-C3F54AA4387F}" type="sibTrans" cxnId="{3D60E7A5-49F2-4C1A-9404-D7D72927C13F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8B839C0C-62D0-479F-B34B-A7276644CA2D}">
      <dgm:prSet custT="1"/>
      <dgm:spPr/>
      <dgm:t>
        <a:bodyPr/>
        <a:lstStyle/>
        <a:p>
          <a:pPr rtl="0"/>
          <a:r>
            <a:rPr lang="en-US" sz="2000" b="0" i="0"/>
            <a:t>Acquire knowledge in grant funding mechanisms</a:t>
          </a:r>
          <a:endParaRPr lang="en-US" sz="2000" b="0" i="0" dirty="0"/>
        </a:p>
      </dgm:t>
    </dgm:pt>
    <dgm:pt modelId="{6864E138-A561-43F2-8F15-7117EC22DB50}" type="parTrans" cxnId="{6520A00D-38C2-452C-A0C2-853D0A5381C7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D324A4AB-6C64-403A-8459-06756708633B}" type="sibTrans" cxnId="{6520A00D-38C2-452C-A0C2-853D0A5381C7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2A3C571D-7FA3-4664-AEC3-1A83C29F6794}">
      <dgm:prSet custT="1"/>
      <dgm:spPr/>
      <dgm:t>
        <a:bodyPr/>
        <a:lstStyle/>
        <a:p>
          <a:pPr rtl="0"/>
          <a:r>
            <a:rPr lang="en-US" sz="2000" b="0" i="0"/>
            <a:t>Attain and hone writing skills</a:t>
          </a:r>
        </a:p>
      </dgm:t>
    </dgm:pt>
    <dgm:pt modelId="{02B040F7-92F2-4BD9-BA32-1901D184796B}" type="parTrans" cxnId="{CF827630-60A7-4881-AFC1-DEF9F6BC9D5D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E9265683-72F8-4A70-972C-E2F8CC1225B0}" type="sibTrans" cxnId="{CF827630-60A7-4881-AFC1-DEF9F6BC9D5D}">
      <dgm:prSet/>
      <dgm:spPr/>
      <dgm:t>
        <a:bodyPr/>
        <a:lstStyle/>
        <a:p>
          <a:endParaRPr lang="en-US" sz="2000" b="0" i="0">
            <a:solidFill>
              <a:schemeClr val="tx1"/>
            </a:solidFill>
          </a:endParaRPr>
        </a:p>
      </dgm:t>
    </dgm:pt>
    <dgm:pt modelId="{EF91BFA9-2374-4C05-8101-A536D0A681EC}" type="pres">
      <dgm:prSet presAssocID="{26D811D4-AAF6-47F0-8843-0831A5C24985}" presName="linear" presStyleCnt="0">
        <dgm:presLayoutVars>
          <dgm:animLvl val="lvl"/>
          <dgm:resizeHandles val="exact"/>
        </dgm:presLayoutVars>
      </dgm:prSet>
      <dgm:spPr/>
    </dgm:pt>
    <dgm:pt modelId="{8FD2D2F0-437A-4F9C-BBB5-F608935F34EF}" type="pres">
      <dgm:prSet presAssocID="{E2F3459A-8DBD-40FE-9CBE-FC52766DC470}" presName="parentText" presStyleLbl="node1" presStyleIdx="0" presStyleCnt="7">
        <dgm:presLayoutVars>
          <dgm:chMax val="0"/>
          <dgm:bulletEnabled val="1"/>
        </dgm:presLayoutVars>
      </dgm:prSet>
      <dgm:spPr/>
    </dgm:pt>
    <dgm:pt modelId="{5DFB074B-2665-44B0-8634-BC6D4011210A}" type="pres">
      <dgm:prSet presAssocID="{7ABE8A52-763E-4CF0-9D53-1A72775B140C}" presName="spacer" presStyleCnt="0"/>
      <dgm:spPr/>
    </dgm:pt>
    <dgm:pt modelId="{8CD48FE3-C914-48C2-BDDD-63228BCAFDD2}" type="pres">
      <dgm:prSet presAssocID="{9B1BD14D-F58A-40B0-ABF2-3DDE350FB7E1}" presName="parentText" presStyleLbl="node1" presStyleIdx="1" presStyleCnt="7">
        <dgm:presLayoutVars>
          <dgm:chMax val="0"/>
          <dgm:bulletEnabled val="1"/>
        </dgm:presLayoutVars>
      </dgm:prSet>
      <dgm:spPr/>
    </dgm:pt>
    <dgm:pt modelId="{F90194D6-01B8-4296-9B7A-E13DE654B7A1}" type="pres">
      <dgm:prSet presAssocID="{A97EC460-D34F-444D-BECA-DE6FC2E76C42}" presName="spacer" presStyleCnt="0"/>
      <dgm:spPr/>
    </dgm:pt>
    <dgm:pt modelId="{58415BC2-30BE-4D2C-BCE6-7C363EEF4785}" type="pres">
      <dgm:prSet presAssocID="{6CFCA795-486F-4F45-8FFF-BE73747D71E8}" presName="parentText" presStyleLbl="node1" presStyleIdx="2" presStyleCnt="7">
        <dgm:presLayoutVars>
          <dgm:chMax val="0"/>
          <dgm:bulletEnabled val="1"/>
        </dgm:presLayoutVars>
      </dgm:prSet>
      <dgm:spPr/>
    </dgm:pt>
    <dgm:pt modelId="{600083A8-42C5-4506-AF95-39BD1AF66BFA}" type="pres">
      <dgm:prSet presAssocID="{AAF2B1DB-1553-4C61-92B0-727422E0054A}" presName="spacer" presStyleCnt="0"/>
      <dgm:spPr/>
    </dgm:pt>
    <dgm:pt modelId="{4221A295-2246-4600-B801-75EECC222B8C}" type="pres">
      <dgm:prSet presAssocID="{B431A221-E219-4459-9D86-5427EE78B73A}" presName="parentText" presStyleLbl="node1" presStyleIdx="3" presStyleCnt="7">
        <dgm:presLayoutVars>
          <dgm:chMax val="0"/>
          <dgm:bulletEnabled val="1"/>
        </dgm:presLayoutVars>
      </dgm:prSet>
      <dgm:spPr/>
    </dgm:pt>
    <dgm:pt modelId="{8F01C6F6-5A5D-4F6E-9FF9-68E60BD6DE3D}" type="pres">
      <dgm:prSet presAssocID="{AA1F44CD-9248-4AE5-B60F-3CA77926509B}" presName="spacer" presStyleCnt="0"/>
      <dgm:spPr/>
    </dgm:pt>
    <dgm:pt modelId="{0AC86674-8888-4AAD-8D6A-8D78BEE99841}" type="pres">
      <dgm:prSet presAssocID="{B92D4873-E66B-40A3-9BA4-4429F384BFC1}" presName="parentText" presStyleLbl="node1" presStyleIdx="4" presStyleCnt="7">
        <dgm:presLayoutVars>
          <dgm:chMax val="0"/>
          <dgm:bulletEnabled val="1"/>
        </dgm:presLayoutVars>
      </dgm:prSet>
      <dgm:spPr/>
    </dgm:pt>
    <dgm:pt modelId="{39C0732D-7B7C-487F-86D2-13761F18062E}" type="pres">
      <dgm:prSet presAssocID="{7AAC2EB3-0A3B-40D7-AC26-C3F54AA4387F}" presName="spacer" presStyleCnt="0"/>
      <dgm:spPr/>
    </dgm:pt>
    <dgm:pt modelId="{72D9769A-3340-4E02-914C-CEAAEDDB5EAF}" type="pres">
      <dgm:prSet presAssocID="{8B839C0C-62D0-479F-B34B-A7276644CA2D}" presName="parentText" presStyleLbl="node1" presStyleIdx="5" presStyleCnt="7">
        <dgm:presLayoutVars>
          <dgm:chMax val="0"/>
          <dgm:bulletEnabled val="1"/>
        </dgm:presLayoutVars>
      </dgm:prSet>
      <dgm:spPr/>
    </dgm:pt>
    <dgm:pt modelId="{C61BB7D4-74E6-4226-8BBB-FF35AF508630}" type="pres">
      <dgm:prSet presAssocID="{D324A4AB-6C64-403A-8459-06756708633B}" presName="spacer" presStyleCnt="0"/>
      <dgm:spPr/>
    </dgm:pt>
    <dgm:pt modelId="{59F94B86-726F-4B2D-82A3-5957963850FC}" type="pres">
      <dgm:prSet presAssocID="{2A3C571D-7FA3-4664-AEC3-1A83C29F6794}" presName="parentText" presStyleLbl="node1" presStyleIdx="6" presStyleCnt="7">
        <dgm:presLayoutVars>
          <dgm:chMax val="0"/>
          <dgm:bulletEnabled val="1"/>
        </dgm:presLayoutVars>
      </dgm:prSet>
      <dgm:spPr/>
    </dgm:pt>
  </dgm:ptLst>
  <dgm:cxnLst>
    <dgm:cxn modelId="{45FD8F00-7D4E-4179-A58B-E77817AEC27E}" srcId="{26D811D4-AAF6-47F0-8843-0831A5C24985}" destId="{E2F3459A-8DBD-40FE-9CBE-FC52766DC470}" srcOrd="0" destOrd="0" parTransId="{ED3F887D-37AB-42B0-B68C-9384F06C0DB4}" sibTransId="{7ABE8A52-763E-4CF0-9D53-1A72775B140C}"/>
    <dgm:cxn modelId="{6520A00D-38C2-452C-A0C2-853D0A5381C7}" srcId="{26D811D4-AAF6-47F0-8843-0831A5C24985}" destId="{8B839C0C-62D0-479F-B34B-A7276644CA2D}" srcOrd="5" destOrd="0" parTransId="{6864E138-A561-43F2-8F15-7117EC22DB50}" sibTransId="{D324A4AB-6C64-403A-8459-06756708633B}"/>
    <dgm:cxn modelId="{F3FCFD27-43F2-40FB-A1E8-A9FA75ABDAA7}" type="presOf" srcId="{6CFCA795-486F-4F45-8FFF-BE73747D71E8}" destId="{58415BC2-30BE-4D2C-BCE6-7C363EEF4785}" srcOrd="0" destOrd="0" presId="urn:microsoft.com/office/officeart/2005/8/layout/vList2"/>
    <dgm:cxn modelId="{F342392D-5DE2-47F6-B84B-07224B5AFEFC}" type="presOf" srcId="{8B839C0C-62D0-479F-B34B-A7276644CA2D}" destId="{72D9769A-3340-4E02-914C-CEAAEDDB5EAF}" srcOrd="0" destOrd="0" presId="urn:microsoft.com/office/officeart/2005/8/layout/vList2"/>
    <dgm:cxn modelId="{CF827630-60A7-4881-AFC1-DEF9F6BC9D5D}" srcId="{26D811D4-AAF6-47F0-8843-0831A5C24985}" destId="{2A3C571D-7FA3-4664-AEC3-1A83C29F6794}" srcOrd="6" destOrd="0" parTransId="{02B040F7-92F2-4BD9-BA32-1901D184796B}" sibTransId="{E9265683-72F8-4A70-972C-E2F8CC1225B0}"/>
    <dgm:cxn modelId="{E0C28D38-BF02-4D95-9FC3-768D74E7A6F5}" srcId="{26D811D4-AAF6-47F0-8843-0831A5C24985}" destId="{6CFCA795-486F-4F45-8FFF-BE73747D71E8}" srcOrd="2" destOrd="0" parTransId="{320A50EE-06E5-4FEF-92AA-04E8DAE85B71}" sibTransId="{AAF2B1DB-1553-4C61-92B0-727422E0054A}"/>
    <dgm:cxn modelId="{12C0A15F-3A86-4E25-A351-865B8FEBE21F}" type="presOf" srcId="{E2F3459A-8DBD-40FE-9CBE-FC52766DC470}" destId="{8FD2D2F0-437A-4F9C-BBB5-F608935F34EF}" srcOrd="0" destOrd="0" presId="urn:microsoft.com/office/officeart/2005/8/layout/vList2"/>
    <dgm:cxn modelId="{97E8D565-88EA-47E2-B326-32F392E1201F}" srcId="{26D811D4-AAF6-47F0-8843-0831A5C24985}" destId="{B431A221-E219-4459-9D86-5427EE78B73A}" srcOrd="3" destOrd="0" parTransId="{4D2A208A-29AB-4F98-BDFC-EA190C248164}" sibTransId="{AA1F44CD-9248-4AE5-B60F-3CA77926509B}"/>
    <dgm:cxn modelId="{C347A26B-F0FB-4DCF-8F8D-1C524D0C444E}" type="presOf" srcId="{B92D4873-E66B-40A3-9BA4-4429F384BFC1}" destId="{0AC86674-8888-4AAD-8D6A-8D78BEE99841}" srcOrd="0" destOrd="0" presId="urn:microsoft.com/office/officeart/2005/8/layout/vList2"/>
    <dgm:cxn modelId="{9C122276-971A-44A7-966A-1780BC400D7B}" type="presOf" srcId="{26D811D4-AAF6-47F0-8843-0831A5C24985}" destId="{EF91BFA9-2374-4C05-8101-A536D0A681EC}" srcOrd="0" destOrd="0" presId="urn:microsoft.com/office/officeart/2005/8/layout/vList2"/>
    <dgm:cxn modelId="{3D60E7A5-49F2-4C1A-9404-D7D72927C13F}" srcId="{26D811D4-AAF6-47F0-8843-0831A5C24985}" destId="{B92D4873-E66B-40A3-9BA4-4429F384BFC1}" srcOrd="4" destOrd="0" parTransId="{46CB79B1-6842-46AC-9527-DC0C85A471B2}" sibTransId="{7AAC2EB3-0A3B-40D7-AC26-C3F54AA4387F}"/>
    <dgm:cxn modelId="{29792AA8-E335-4D7B-9155-D77D972C084D}" type="presOf" srcId="{B431A221-E219-4459-9D86-5427EE78B73A}" destId="{4221A295-2246-4600-B801-75EECC222B8C}" srcOrd="0" destOrd="0" presId="urn:microsoft.com/office/officeart/2005/8/layout/vList2"/>
    <dgm:cxn modelId="{030438AE-FE2A-49A0-8245-C52519D98A99}" srcId="{26D811D4-AAF6-47F0-8843-0831A5C24985}" destId="{9B1BD14D-F58A-40B0-ABF2-3DDE350FB7E1}" srcOrd="1" destOrd="0" parTransId="{BE13243D-C15A-4B18-9B0F-F69E29C83876}" sibTransId="{A97EC460-D34F-444D-BECA-DE6FC2E76C42}"/>
    <dgm:cxn modelId="{42D4E1C1-1282-4342-AABA-CC92B8481D19}" type="presOf" srcId="{9B1BD14D-F58A-40B0-ABF2-3DDE350FB7E1}" destId="{8CD48FE3-C914-48C2-BDDD-63228BCAFDD2}" srcOrd="0" destOrd="0" presId="urn:microsoft.com/office/officeart/2005/8/layout/vList2"/>
    <dgm:cxn modelId="{71B4B2EA-0CA4-4678-8057-A89A92E9A7A1}" type="presOf" srcId="{2A3C571D-7FA3-4664-AEC3-1A83C29F6794}" destId="{59F94B86-726F-4B2D-82A3-5957963850FC}" srcOrd="0" destOrd="0" presId="urn:microsoft.com/office/officeart/2005/8/layout/vList2"/>
    <dgm:cxn modelId="{6F000818-4357-4380-8C9E-535D6F1AA663}" type="presParOf" srcId="{EF91BFA9-2374-4C05-8101-A536D0A681EC}" destId="{8FD2D2F0-437A-4F9C-BBB5-F608935F34EF}" srcOrd="0" destOrd="0" presId="urn:microsoft.com/office/officeart/2005/8/layout/vList2"/>
    <dgm:cxn modelId="{4AABF197-5E7A-4347-B76F-69A2F60D98B3}" type="presParOf" srcId="{EF91BFA9-2374-4C05-8101-A536D0A681EC}" destId="{5DFB074B-2665-44B0-8634-BC6D4011210A}" srcOrd="1" destOrd="0" presId="urn:microsoft.com/office/officeart/2005/8/layout/vList2"/>
    <dgm:cxn modelId="{4FF89004-673B-4A18-8380-08D21E7F865B}" type="presParOf" srcId="{EF91BFA9-2374-4C05-8101-A536D0A681EC}" destId="{8CD48FE3-C914-48C2-BDDD-63228BCAFDD2}" srcOrd="2" destOrd="0" presId="urn:microsoft.com/office/officeart/2005/8/layout/vList2"/>
    <dgm:cxn modelId="{8B35C13C-59E0-4767-B102-063C35BFC32E}" type="presParOf" srcId="{EF91BFA9-2374-4C05-8101-A536D0A681EC}" destId="{F90194D6-01B8-4296-9B7A-E13DE654B7A1}" srcOrd="3" destOrd="0" presId="urn:microsoft.com/office/officeart/2005/8/layout/vList2"/>
    <dgm:cxn modelId="{A26E1DEB-74E8-47F7-B381-DD9904909E3B}" type="presParOf" srcId="{EF91BFA9-2374-4C05-8101-A536D0A681EC}" destId="{58415BC2-30BE-4D2C-BCE6-7C363EEF4785}" srcOrd="4" destOrd="0" presId="urn:microsoft.com/office/officeart/2005/8/layout/vList2"/>
    <dgm:cxn modelId="{6192D56C-8DBF-4892-AA8A-DBEDD6CA6B1D}" type="presParOf" srcId="{EF91BFA9-2374-4C05-8101-A536D0A681EC}" destId="{600083A8-42C5-4506-AF95-39BD1AF66BFA}" srcOrd="5" destOrd="0" presId="urn:microsoft.com/office/officeart/2005/8/layout/vList2"/>
    <dgm:cxn modelId="{DCA31586-0225-4A85-AB21-47C42C428C66}" type="presParOf" srcId="{EF91BFA9-2374-4C05-8101-A536D0A681EC}" destId="{4221A295-2246-4600-B801-75EECC222B8C}" srcOrd="6" destOrd="0" presId="urn:microsoft.com/office/officeart/2005/8/layout/vList2"/>
    <dgm:cxn modelId="{EE6A0DDF-186D-4386-9937-979514B45851}" type="presParOf" srcId="{EF91BFA9-2374-4C05-8101-A536D0A681EC}" destId="{8F01C6F6-5A5D-4F6E-9FF9-68E60BD6DE3D}" srcOrd="7" destOrd="0" presId="urn:microsoft.com/office/officeart/2005/8/layout/vList2"/>
    <dgm:cxn modelId="{26CBBA2F-A08A-40CF-85EA-B2D3127E1F0E}" type="presParOf" srcId="{EF91BFA9-2374-4C05-8101-A536D0A681EC}" destId="{0AC86674-8888-4AAD-8D6A-8D78BEE99841}" srcOrd="8" destOrd="0" presId="urn:microsoft.com/office/officeart/2005/8/layout/vList2"/>
    <dgm:cxn modelId="{70A62067-7F84-4F42-9B25-C94BAA0DDF20}" type="presParOf" srcId="{EF91BFA9-2374-4C05-8101-A536D0A681EC}" destId="{39C0732D-7B7C-487F-86D2-13761F18062E}" srcOrd="9" destOrd="0" presId="urn:microsoft.com/office/officeart/2005/8/layout/vList2"/>
    <dgm:cxn modelId="{DEA6EBBF-5864-43D6-802F-A92AE451C325}" type="presParOf" srcId="{EF91BFA9-2374-4C05-8101-A536D0A681EC}" destId="{72D9769A-3340-4E02-914C-CEAAEDDB5EAF}" srcOrd="10" destOrd="0" presId="urn:microsoft.com/office/officeart/2005/8/layout/vList2"/>
    <dgm:cxn modelId="{E0D38DAE-0D72-4E4E-8944-3B27DA53C87D}" type="presParOf" srcId="{EF91BFA9-2374-4C05-8101-A536D0A681EC}" destId="{C61BB7D4-74E6-4226-8BBB-FF35AF508630}" srcOrd="11" destOrd="0" presId="urn:microsoft.com/office/officeart/2005/8/layout/vList2"/>
    <dgm:cxn modelId="{7F076C4C-7305-4EBF-9CBA-B2D605A26968}" type="presParOf" srcId="{EF91BFA9-2374-4C05-8101-A536D0A681EC}" destId="{59F94B86-726F-4B2D-82A3-5957963850FC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D2673749-859E-46FB-9F18-070834903416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7CDDE5B-4E23-4BEB-9592-38885F8B8879}">
      <dgm:prSet/>
      <dgm:spPr/>
      <dgm:t>
        <a:bodyPr/>
        <a:lstStyle/>
        <a:p>
          <a:pPr rtl="0"/>
          <a:r>
            <a:rPr lang="en-US" b="0"/>
            <a:t>Small group setting where faculty focus on thorough development of research projects</a:t>
          </a:r>
          <a:endParaRPr lang="en-US" b="0" dirty="0"/>
        </a:p>
      </dgm:t>
    </dgm:pt>
    <dgm:pt modelId="{7E1986EB-7D72-48D5-A81B-39F85E893647}" type="parTrans" cxnId="{E6F31933-B4CA-43B0-B32E-ED16BB5C0035}">
      <dgm:prSet/>
      <dgm:spPr/>
      <dgm:t>
        <a:bodyPr/>
        <a:lstStyle/>
        <a:p>
          <a:endParaRPr lang="en-US"/>
        </a:p>
      </dgm:t>
    </dgm:pt>
    <dgm:pt modelId="{A99E2211-E556-48AB-8457-2A4205B2D2CA}" type="sibTrans" cxnId="{E6F31933-B4CA-43B0-B32E-ED16BB5C0035}">
      <dgm:prSet/>
      <dgm:spPr/>
      <dgm:t>
        <a:bodyPr/>
        <a:lstStyle/>
        <a:p>
          <a:endParaRPr lang="en-US"/>
        </a:p>
      </dgm:t>
    </dgm:pt>
    <dgm:pt modelId="{09F1A785-94F6-4F27-84B6-4B5575340A88}">
      <dgm:prSet/>
      <dgm:spPr/>
      <dgm:t>
        <a:bodyPr/>
        <a:lstStyle/>
        <a:p>
          <a:pPr rtl="0"/>
          <a:r>
            <a:rPr lang="en-US" b="0" dirty="0"/>
            <a:t>Faculty</a:t>
          </a:r>
          <a:r>
            <a:rPr lang="en-US" b="1" dirty="0"/>
            <a:t> </a:t>
          </a:r>
          <a:r>
            <a:rPr lang="en-US" b="0" dirty="0"/>
            <a:t>with expertise in quantitative and qualitative research, education, quality improvement, and global health</a:t>
          </a:r>
        </a:p>
      </dgm:t>
    </dgm:pt>
    <dgm:pt modelId="{F65A7B30-0E95-4F15-9E28-9D626AB54D7D}" type="parTrans" cxnId="{6403FD12-FE90-4266-959D-39066EF848FD}">
      <dgm:prSet/>
      <dgm:spPr/>
      <dgm:t>
        <a:bodyPr/>
        <a:lstStyle/>
        <a:p>
          <a:endParaRPr lang="en-US"/>
        </a:p>
      </dgm:t>
    </dgm:pt>
    <dgm:pt modelId="{5A4FF666-77CC-4972-82C5-240D881EC47F}" type="sibTrans" cxnId="{6403FD12-FE90-4266-959D-39066EF848FD}">
      <dgm:prSet/>
      <dgm:spPr/>
      <dgm:t>
        <a:bodyPr/>
        <a:lstStyle/>
        <a:p>
          <a:endParaRPr lang="en-US"/>
        </a:p>
      </dgm:t>
    </dgm:pt>
    <dgm:pt modelId="{F0DCA3F3-8AE7-4383-95B1-51EDA3CFCEDE}">
      <dgm:prSet/>
      <dgm:spPr/>
      <dgm:t>
        <a:bodyPr/>
        <a:lstStyle/>
        <a:p>
          <a:pPr rtl="0"/>
          <a:r>
            <a:rPr lang="en-US" dirty="0"/>
            <a:t>Receive written and verbal feedback on: </a:t>
          </a:r>
        </a:p>
      </dgm:t>
    </dgm:pt>
    <dgm:pt modelId="{36666DCC-ACE2-43B8-9BC3-25DD8C3AA821}" type="parTrans" cxnId="{05E062F3-506C-4D22-91FC-88D011DD2136}">
      <dgm:prSet/>
      <dgm:spPr/>
      <dgm:t>
        <a:bodyPr/>
        <a:lstStyle/>
        <a:p>
          <a:endParaRPr lang="en-US"/>
        </a:p>
      </dgm:t>
    </dgm:pt>
    <dgm:pt modelId="{92C926DF-720E-47CE-8563-F2FC6725A03C}" type="sibTrans" cxnId="{05E062F3-506C-4D22-91FC-88D011DD2136}">
      <dgm:prSet/>
      <dgm:spPr/>
      <dgm:t>
        <a:bodyPr/>
        <a:lstStyle/>
        <a:p>
          <a:endParaRPr lang="en-US"/>
        </a:p>
      </dgm:t>
    </dgm:pt>
    <dgm:pt modelId="{CBD65ADC-9A82-48F3-9AC4-113CE9F99FB5}">
      <dgm:prSet/>
      <dgm:spPr/>
      <dgm:t>
        <a:bodyPr/>
        <a:lstStyle/>
        <a:p>
          <a:pPr rtl="0"/>
          <a:r>
            <a:rPr lang="en-US"/>
            <a:t>Study question </a:t>
          </a:r>
        </a:p>
      </dgm:t>
    </dgm:pt>
    <dgm:pt modelId="{E06A32BA-7635-4FE2-9D99-E2EAE4979A23}" type="parTrans" cxnId="{D1051901-2CDD-4931-B2D1-BDD054D1BABA}">
      <dgm:prSet/>
      <dgm:spPr/>
      <dgm:t>
        <a:bodyPr/>
        <a:lstStyle/>
        <a:p>
          <a:endParaRPr lang="en-US"/>
        </a:p>
      </dgm:t>
    </dgm:pt>
    <dgm:pt modelId="{E448BB39-C25E-4FC8-865A-9453965DE675}" type="sibTrans" cxnId="{D1051901-2CDD-4931-B2D1-BDD054D1BABA}">
      <dgm:prSet/>
      <dgm:spPr/>
      <dgm:t>
        <a:bodyPr/>
        <a:lstStyle/>
        <a:p>
          <a:endParaRPr lang="en-US"/>
        </a:p>
      </dgm:t>
    </dgm:pt>
    <dgm:pt modelId="{01F5BD2E-6352-4383-80ED-372A87D2C68C}">
      <dgm:prSet/>
      <dgm:spPr/>
      <dgm:t>
        <a:bodyPr/>
        <a:lstStyle/>
        <a:p>
          <a:pPr rtl="0"/>
          <a:r>
            <a:rPr lang="en-US"/>
            <a:t>Study design</a:t>
          </a:r>
        </a:p>
      </dgm:t>
    </dgm:pt>
    <dgm:pt modelId="{9E8DECAE-2650-43C5-A0DE-9535D4819384}" type="parTrans" cxnId="{3448BBD5-1760-44AF-A95A-DB29229AD1F8}">
      <dgm:prSet/>
      <dgm:spPr/>
      <dgm:t>
        <a:bodyPr/>
        <a:lstStyle/>
        <a:p>
          <a:endParaRPr lang="en-US"/>
        </a:p>
      </dgm:t>
    </dgm:pt>
    <dgm:pt modelId="{648D57F2-4E78-494F-A2D3-4E374552A35F}" type="sibTrans" cxnId="{3448BBD5-1760-44AF-A95A-DB29229AD1F8}">
      <dgm:prSet/>
      <dgm:spPr/>
      <dgm:t>
        <a:bodyPr/>
        <a:lstStyle/>
        <a:p>
          <a:endParaRPr lang="en-US"/>
        </a:p>
      </dgm:t>
    </dgm:pt>
    <dgm:pt modelId="{2FB1D6B6-166E-4EE6-937F-2FBA7C0D8586}">
      <dgm:prSet/>
      <dgm:spPr/>
      <dgm:t>
        <a:bodyPr/>
        <a:lstStyle/>
        <a:p>
          <a:pPr rtl="0"/>
          <a:r>
            <a:rPr lang="en-US"/>
            <a:t>Analysis plan</a:t>
          </a:r>
        </a:p>
      </dgm:t>
    </dgm:pt>
    <dgm:pt modelId="{11D1E7C9-599C-4C68-8A76-CE7BE2060267}" type="parTrans" cxnId="{1FAA031C-CD07-40F7-B090-036F501287BB}">
      <dgm:prSet/>
      <dgm:spPr/>
      <dgm:t>
        <a:bodyPr/>
        <a:lstStyle/>
        <a:p>
          <a:endParaRPr lang="en-US"/>
        </a:p>
      </dgm:t>
    </dgm:pt>
    <dgm:pt modelId="{CFDD205E-0DA2-4C76-81C8-90C9A2A1E459}" type="sibTrans" cxnId="{1FAA031C-CD07-40F7-B090-036F501287BB}">
      <dgm:prSet/>
      <dgm:spPr/>
      <dgm:t>
        <a:bodyPr/>
        <a:lstStyle/>
        <a:p>
          <a:endParaRPr lang="en-US"/>
        </a:p>
      </dgm:t>
    </dgm:pt>
    <dgm:pt modelId="{C0FD9781-196E-45AB-BA51-D88980CC0C23}">
      <dgm:prSet/>
      <dgm:spPr/>
      <dgm:t>
        <a:bodyPr/>
        <a:lstStyle/>
        <a:p>
          <a:pPr rtl="0"/>
          <a:r>
            <a:rPr lang="en-US" dirty="0"/>
            <a:t>1st year fellows required to attend 4 sessions</a:t>
          </a:r>
        </a:p>
      </dgm:t>
    </dgm:pt>
    <dgm:pt modelId="{01DD9380-2A76-4ED4-991F-6885DEE92F25}" type="parTrans" cxnId="{E2CCBB04-9B69-4746-BABC-ADBFD2C1053D}">
      <dgm:prSet/>
      <dgm:spPr/>
      <dgm:t>
        <a:bodyPr/>
        <a:lstStyle/>
        <a:p>
          <a:endParaRPr lang="en-US"/>
        </a:p>
      </dgm:t>
    </dgm:pt>
    <dgm:pt modelId="{C25DDE35-1E1D-479F-BB04-52D91F18CDAA}" type="sibTrans" cxnId="{E2CCBB04-9B69-4746-BABC-ADBFD2C1053D}">
      <dgm:prSet/>
      <dgm:spPr/>
      <dgm:t>
        <a:bodyPr/>
        <a:lstStyle/>
        <a:p>
          <a:endParaRPr lang="en-US"/>
        </a:p>
      </dgm:t>
    </dgm:pt>
    <dgm:pt modelId="{1673466F-C556-4AEC-98AA-EA4A2BE80DCE}" type="pres">
      <dgm:prSet presAssocID="{D2673749-859E-46FB-9F18-070834903416}" presName="linear" presStyleCnt="0">
        <dgm:presLayoutVars>
          <dgm:animLvl val="lvl"/>
          <dgm:resizeHandles val="exact"/>
        </dgm:presLayoutVars>
      </dgm:prSet>
      <dgm:spPr/>
    </dgm:pt>
    <dgm:pt modelId="{7D6BE44B-5812-4EDB-801F-EBA6D11ADF25}" type="pres">
      <dgm:prSet presAssocID="{77CDDE5B-4E23-4BEB-9592-38885F8B8879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8CED2965-D7F9-4CA3-A306-475227F84B78}" type="pres">
      <dgm:prSet presAssocID="{A99E2211-E556-48AB-8457-2A4205B2D2CA}" presName="spacer" presStyleCnt="0"/>
      <dgm:spPr/>
    </dgm:pt>
    <dgm:pt modelId="{35006A8D-BED1-44FD-8360-4709DCBCD1F3}" type="pres">
      <dgm:prSet presAssocID="{09F1A785-94F6-4F27-84B6-4B5575340A88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71C2B244-CBDD-46DE-BF3B-84C799C7F34C}" type="pres">
      <dgm:prSet presAssocID="{5A4FF666-77CC-4972-82C5-240D881EC47F}" presName="spacer" presStyleCnt="0"/>
      <dgm:spPr/>
    </dgm:pt>
    <dgm:pt modelId="{ED0F4F48-BFAE-4E8A-BCD8-29EDE1DDF222}" type="pres">
      <dgm:prSet presAssocID="{F0DCA3F3-8AE7-4383-95B1-51EDA3CFCEDE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E49297C0-C758-4A10-8DD6-7D2C8230D341}" type="pres">
      <dgm:prSet presAssocID="{F0DCA3F3-8AE7-4383-95B1-51EDA3CFCEDE}" presName="childText" presStyleLbl="revTx" presStyleIdx="0" presStyleCnt="1">
        <dgm:presLayoutVars>
          <dgm:bulletEnabled val="1"/>
        </dgm:presLayoutVars>
      </dgm:prSet>
      <dgm:spPr/>
    </dgm:pt>
    <dgm:pt modelId="{20BAA634-5245-4186-A6C9-F59F74675CF4}" type="pres">
      <dgm:prSet presAssocID="{C0FD9781-196E-45AB-BA51-D88980CC0C23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D1051901-2CDD-4931-B2D1-BDD054D1BABA}" srcId="{F0DCA3F3-8AE7-4383-95B1-51EDA3CFCEDE}" destId="{CBD65ADC-9A82-48F3-9AC4-113CE9F99FB5}" srcOrd="0" destOrd="0" parTransId="{E06A32BA-7635-4FE2-9D99-E2EAE4979A23}" sibTransId="{E448BB39-C25E-4FC8-865A-9453965DE675}"/>
    <dgm:cxn modelId="{68EC3702-13B3-484D-84E1-6CCCDC5D7A5B}" type="presOf" srcId="{2FB1D6B6-166E-4EE6-937F-2FBA7C0D8586}" destId="{E49297C0-C758-4A10-8DD6-7D2C8230D341}" srcOrd="0" destOrd="2" presId="urn:microsoft.com/office/officeart/2005/8/layout/vList2"/>
    <dgm:cxn modelId="{E2CCBB04-9B69-4746-BABC-ADBFD2C1053D}" srcId="{D2673749-859E-46FB-9F18-070834903416}" destId="{C0FD9781-196E-45AB-BA51-D88980CC0C23}" srcOrd="3" destOrd="0" parTransId="{01DD9380-2A76-4ED4-991F-6885DEE92F25}" sibTransId="{C25DDE35-1E1D-479F-BB04-52D91F18CDAA}"/>
    <dgm:cxn modelId="{6403FD12-FE90-4266-959D-39066EF848FD}" srcId="{D2673749-859E-46FB-9F18-070834903416}" destId="{09F1A785-94F6-4F27-84B6-4B5575340A88}" srcOrd="1" destOrd="0" parTransId="{F65A7B30-0E95-4F15-9E28-9D626AB54D7D}" sibTransId="{5A4FF666-77CC-4972-82C5-240D881EC47F}"/>
    <dgm:cxn modelId="{1FAA031C-CD07-40F7-B090-036F501287BB}" srcId="{F0DCA3F3-8AE7-4383-95B1-51EDA3CFCEDE}" destId="{2FB1D6B6-166E-4EE6-937F-2FBA7C0D8586}" srcOrd="2" destOrd="0" parTransId="{11D1E7C9-599C-4C68-8A76-CE7BE2060267}" sibTransId="{CFDD205E-0DA2-4C76-81C8-90C9A2A1E459}"/>
    <dgm:cxn modelId="{CBD74027-50E8-4DA0-99FA-EBB0BD087A89}" type="presOf" srcId="{CBD65ADC-9A82-48F3-9AC4-113CE9F99FB5}" destId="{E49297C0-C758-4A10-8DD6-7D2C8230D341}" srcOrd="0" destOrd="0" presId="urn:microsoft.com/office/officeart/2005/8/layout/vList2"/>
    <dgm:cxn modelId="{3E61752F-20C5-4B53-B3C0-08C26C90A1DB}" type="presOf" srcId="{01F5BD2E-6352-4383-80ED-372A87D2C68C}" destId="{E49297C0-C758-4A10-8DD6-7D2C8230D341}" srcOrd="0" destOrd="1" presId="urn:microsoft.com/office/officeart/2005/8/layout/vList2"/>
    <dgm:cxn modelId="{E6F31933-B4CA-43B0-B32E-ED16BB5C0035}" srcId="{D2673749-859E-46FB-9F18-070834903416}" destId="{77CDDE5B-4E23-4BEB-9592-38885F8B8879}" srcOrd="0" destOrd="0" parTransId="{7E1986EB-7D72-48D5-A81B-39F85E893647}" sibTransId="{A99E2211-E556-48AB-8457-2A4205B2D2CA}"/>
    <dgm:cxn modelId="{134E1860-D68C-49D6-8F13-0BF29D1F2681}" type="presOf" srcId="{09F1A785-94F6-4F27-84B6-4B5575340A88}" destId="{35006A8D-BED1-44FD-8360-4709DCBCD1F3}" srcOrd="0" destOrd="0" presId="urn:microsoft.com/office/officeart/2005/8/layout/vList2"/>
    <dgm:cxn modelId="{6A45206D-3BC2-4E00-89FF-C5F4EA40C0B9}" type="presOf" srcId="{C0FD9781-196E-45AB-BA51-D88980CC0C23}" destId="{20BAA634-5245-4186-A6C9-F59F74675CF4}" srcOrd="0" destOrd="0" presId="urn:microsoft.com/office/officeart/2005/8/layout/vList2"/>
    <dgm:cxn modelId="{7FCAE16D-E397-4411-A264-4A7282B958BB}" type="presOf" srcId="{77CDDE5B-4E23-4BEB-9592-38885F8B8879}" destId="{7D6BE44B-5812-4EDB-801F-EBA6D11ADF25}" srcOrd="0" destOrd="0" presId="urn:microsoft.com/office/officeart/2005/8/layout/vList2"/>
    <dgm:cxn modelId="{7C121172-12DB-4674-B55F-9AF7F76EFFC4}" type="presOf" srcId="{D2673749-859E-46FB-9F18-070834903416}" destId="{1673466F-C556-4AEC-98AA-EA4A2BE80DCE}" srcOrd="0" destOrd="0" presId="urn:microsoft.com/office/officeart/2005/8/layout/vList2"/>
    <dgm:cxn modelId="{29D8F1B9-A705-49CC-B699-CFF5A53BD365}" type="presOf" srcId="{F0DCA3F3-8AE7-4383-95B1-51EDA3CFCEDE}" destId="{ED0F4F48-BFAE-4E8A-BCD8-29EDE1DDF222}" srcOrd="0" destOrd="0" presId="urn:microsoft.com/office/officeart/2005/8/layout/vList2"/>
    <dgm:cxn modelId="{3448BBD5-1760-44AF-A95A-DB29229AD1F8}" srcId="{F0DCA3F3-8AE7-4383-95B1-51EDA3CFCEDE}" destId="{01F5BD2E-6352-4383-80ED-372A87D2C68C}" srcOrd="1" destOrd="0" parTransId="{9E8DECAE-2650-43C5-A0DE-9535D4819384}" sibTransId="{648D57F2-4E78-494F-A2D3-4E374552A35F}"/>
    <dgm:cxn modelId="{05E062F3-506C-4D22-91FC-88D011DD2136}" srcId="{D2673749-859E-46FB-9F18-070834903416}" destId="{F0DCA3F3-8AE7-4383-95B1-51EDA3CFCEDE}" srcOrd="2" destOrd="0" parTransId="{36666DCC-ACE2-43B8-9BC3-25DD8C3AA821}" sibTransId="{92C926DF-720E-47CE-8563-F2FC6725A03C}"/>
    <dgm:cxn modelId="{C8E3C1CA-AEF1-40F2-A326-2B6D9589C2B1}" type="presParOf" srcId="{1673466F-C556-4AEC-98AA-EA4A2BE80DCE}" destId="{7D6BE44B-5812-4EDB-801F-EBA6D11ADF25}" srcOrd="0" destOrd="0" presId="urn:microsoft.com/office/officeart/2005/8/layout/vList2"/>
    <dgm:cxn modelId="{DC507511-3090-4F1E-9791-204243D0EFF5}" type="presParOf" srcId="{1673466F-C556-4AEC-98AA-EA4A2BE80DCE}" destId="{8CED2965-D7F9-4CA3-A306-475227F84B78}" srcOrd="1" destOrd="0" presId="urn:microsoft.com/office/officeart/2005/8/layout/vList2"/>
    <dgm:cxn modelId="{F5B8785B-DD61-4599-A5A8-EA823B21009E}" type="presParOf" srcId="{1673466F-C556-4AEC-98AA-EA4A2BE80DCE}" destId="{35006A8D-BED1-44FD-8360-4709DCBCD1F3}" srcOrd="2" destOrd="0" presId="urn:microsoft.com/office/officeart/2005/8/layout/vList2"/>
    <dgm:cxn modelId="{CFADEE50-D19C-47ED-A17D-230109955B8B}" type="presParOf" srcId="{1673466F-C556-4AEC-98AA-EA4A2BE80DCE}" destId="{71C2B244-CBDD-46DE-BF3B-84C799C7F34C}" srcOrd="3" destOrd="0" presId="urn:microsoft.com/office/officeart/2005/8/layout/vList2"/>
    <dgm:cxn modelId="{B558306D-5009-4BDB-93CC-BD6D7BA1437C}" type="presParOf" srcId="{1673466F-C556-4AEC-98AA-EA4A2BE80DCE}" destId="{ED0F4F48-BFAE-4E8A-BCD8-29EDE1DDF222}" srcOrd="4" destOrd="0" presId="urn:microsoft.com/office/officeart/2005/8/layout/vList2"/>
    <dgm:cxn modelId="{30BD5C3B-B224-4D21-B2DB-04DA48A7ED58}" type="presParOf" srcId="{1673466F-C556-4AEC-98AA-EA4A2BE80DCE}" destId="{E49297C0-C758-4A10-8DD6-7D2C8230D341}" srcOrd="5" destOrd="0" presId="urn:microsoft.com/office/officeart/2005/8/layout/vList2"/>
    <dgm:cxn modelId="{FBD90419-8C74-4C01-A6FA-46DC457E39D2}" type="presParOf" srcId="{1673466F-C556-4AEC-98AA-EA4A2BE80DCE}" destId="{20BAA634-5245-4186-A6C9-F59F74675CF4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B539E6A-74F7-4DC5-8F96-129C177E382D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9E317D6-074F-49F8-88BF-C2925E14E5F6}">
      <dgm:prSet/>
      <dgm:spPr/>
      <dgm:t>
        <a:bodyPr/>
        <a:lstStyle/>
        <a:p>
          <a:pPr rtl="0"/>
          <a:r>
            <a:rPr lang="en-US" dirty="0"/>
            <a:t>Fellowship began in 1992</a:t>
          </a:r>
        </a:p>
      </dgm:t>
    </dgm:pt>
    <dgm:pt modelId="{C3D26968-191A-44C9-A924-2A7E236771B6}" type="parTrans" cxnId="{3980C896-5AB8-4E15-A8A6-2C708DFDAF43}">
      <dgm:prSet/>
      <dgm:spPr/>
      <dgm:t>
        <a:bodyPr/>
        <a:lstStyle/>
        <a:p>
          <a:endParaRPr lang="en-US"/>
        </a:p>
      </dgm:t>
    </dgm:pt>
    <dgm:pt modelId="{B7C45FA7-9966-499B-9F80-796C7C49F9A1}" type="sibTrans" cxnId="{3980C896-5AB8-4E15-A8A6-2C708DFDAF43}">
      <dgm:prSet/>
      <dgm:spPr/>
      <dgm:t>
        <a:bodyPr/>
        <a:lstStyle/>
        <a:p>
          <a:endParaRPr lang="en-US"/>
        </a:p>
      </dgm:t>
    </dgm:pt>
    <dgm:pt modelId="{285D77F1-D8C7-4CFF-BEC7-C41031C85550}">
      <dgm:prSet/>
      <dgm:spPr/>
      <dgm:t>
        <a:bodyPr/>
        <a:lstStyle/>
        <a:p>
          <a:pPr rtl="0"/>
          <a:r>
            <a:rPr lang="en-US" dirty="0"/>
            <a:t>120 fellowship graduates across the country</a:t>
          </a:r>
        </a:p>
      </dgm:t>
    </dgm:pt>
    <dgm:pt modelId="{99EEF763-7985-4349-8B0C-91853BEBBC0D}" type="parTrans" cxnId="{D365993E-799A-45FE-B979-9D200AF70441}">
      <dgm:prSet/>
      <dgm:spPr/>
      <dgm:t>
        <a:bodyPr/>
        <a:lstStyle/>
        <a:p>
          <a:endParaRPr lang="en-US"/>
        </a:p>
      </dgm:t>
    </dgm:pt>
    <dgm:pt modelId="{3752DCC1-0691-4084-9349-5E60C49FFD69}" type="sibTrans" cxnId="{D365993E-799A-45FE-B979-9D200AF70441}">
      <dgm:prSet/>
      <dgm:spPr/>
      <dgm:t>
        <a:bodyPr/>
        <a:lstStyle/>
        <a:p>
          <a:endParaRPr lang="en-US"/>
        </a:p>
      </dgm:t>
    </dgm:pt>
    <dgm:pt modelId="{CD35EC83-7CE5-4297-91BD-4BE0BB0240D7}">
      <dgm:prSet/>
      <dgm:spPr/>
      <dgm:t>
        <a:bodyPr/>
        <a:lstStyle/>
        <a:p>
          <a:pPr rtl="0"/>
          <a:r>
            <a:rPr lang="en-US" b="0" dirty="0"/>
            <a:t>Currently 18 fellows  </a:t>
          </a:r>
        </a:p>
      </dgm:t>
    </dgm:pt>
    <dgm:pt modelId="{AD06FE40-8A38-4A59-A63B-DB5BE05329D6}" type="parTrans" cxnId="{9F14211A-7A21-43EB-880A-E71B3F27A681}">
      <dgm:prSet/>
      <dgm:spPr/>
      <dgm:t>
        <a:bodyPr/>
        <a:lstStyle/>
        <a:p>
          <a:endParaRPr lang="en-US"/>
        </a:p>
      </dgm:t>
    </dgm:pt>
    <dgm:pt modelId="{114E1F7A-B0D6-4CA6-9204-9C3889C3EA84}" type="sibTrans" cxnId="{9F14211A-7A21-43EB-880A-E71B3F27A681}">
      <dgm:prSet/>
      <dgm:spPr/>
      <dgm:t>
        <a:bodyPr/>
        <a:lstStyle/>
        <a:p>
          <a:endParaRPr lang="en-US"/>
        </a:p>
      </dgm:t>
    </dgm:pt>
    <dgm:pt modelId="{668C7941-DB30-46B7-A6CE-991D633EEC41}">
      <dgm:prSet/>
      <dgm:spPr/>
      <dgm:t>
        <a:bodyPr/>
        <a:lstStyle/>
        <a:p>
          <a:pPr rtl="0"/>
          <a:r>
            <a:rPr lang="en-US"/>
            <a:t>EM and pediatrics trained</a:t>
          </a:r>
        </a:p>
      </dgm:t>
    </dgm:pt>
    <dgm:pt modelId="{2983662E-B07E-494B-B5DC-D59C6AE0792C}" type="parTrans" cxnId="{2969D845-CC56-497C-9B9E-33D0B1EAFC76}">
      <dgm:prSet/>
      <dgm:spPr/>
      <dgm:t>
        <a:bodyPr/>
        <a:lstStyle/>
        <a:p>
          <a:endParaRPr lang="en-US"/>
        </a:p>
      </dgm:t>
    </dgm:pt>
    <dgm:pt modelId="{97944B9D-2FE9-4E70-AB9A-E75080C0001B}" type="sibTrans" cxnId="{2969D845-CC56-497C-9B9E-33D0B1EAFC76}">
      <dgm:prSet/>
      <dgm:spPr/>
      <dgm:t>
        <a:bodyPr/>
        <a:lstStyle/>
        <a:p>
          <a:endParaRPr lang="en-US"/>
        </a:p>
      </dgm:t>
    </dgm:pt>
    <dgm:pt modelId="{48D47316-C376-4073-989D-388DE5BDAB4A}">
      <dgm:prSet/>
      <dgm:spPr/>
      <dgm:t>
        <a:bodyPr/>
        <a:lstStyle/>
        <a:p>
          <a:pPr rtl="0"/>
          <a:r>
            <a:rPr lang="en-US" dirty="0"/>
            <a:t>2021-Received 174 applications for 6 positions</a:t>
          </a:r>
        </a:p>
      </dgm:t>
    </dgm:pt>
    <dgm:pt modelId="{9D82E44B-F4BF-418E-9812-622B25688946}" type="parTrans" cxnId="{A73DBF95-5634-45E7-A206-8CD15E7690DA}">
      <dgm:prSet/>
      <dgm:spPr/>
      <dgm:t>
        <a:bodyPr/>
        <a:lstStyle/>
        <a:p>
          <a:endParaRPr lang="en-US"/>
        </a:p>
      </dgm:t>
    </dgm:pt>
    <dgm:pt modelId="{7C59A428-EBA6-46AD-9B28-7609582663B6}" type="sibTrans" cxnId="{A73DBF95-5634-45E7-A206-8CD15E7690DA}">
      <dgm:prSet/>
      <dgm:spPr/>
      <dgm:t>
        <a:bodyPr/>
        <a:lstStyle/>
        <a:p>
          <a:endParaRPr lang="en-US"/>
        </a:p>
      </dgm:t>
    </dgm:pt>
    <dgm:pt modelId="{F4DC7359-C664-4316-8EF6-CBBAD2B9C4DC}">
      <dgm:prSet/>
      <dgm:spPr/>
      <dgm:t>
        <a:bodyPr/>
        <a:lstStyle/>
        <a:p>
          <a:pPr rtl="0"/>
          <a:r>
            <a:rPr lang="en-US" dirty="0"/>
            <a:t>51 PEM faculty, 6 POCUS faculty, GEMS, APPS</a:t>
          </a:r>
        </a:p>
      </dgm:t>
    </dgm:pt>
    <dgm:pt modelId="{8CADB029-58F7-45CB-97E4-AA16F818A9DA}" type="parTrans" cxnId="{61CAD4DF-E43F-4F6A-A548-A36C6BD4E264}">
      <dgm:prSet/>
      <dgm:spPr/>
      <dgm:t>
        <a:bodyPr/>
        <a:lstStyle/>
        <a:p>
          <a:endParaRPr lang="en-US"/>
        </a:p>
      </dgm:t>
    </dgm:pt>
    <dgm:pt modelId="{4734C620-93CF-4C82-AD23-17548ABFC753}" type="sibTrans" cxnId="{61CAD4DF-E43F-4F6A-A548-A36C6BD4E264}">
      <dgm:prSet/>
      <dgm:spPr/>
      <dgm:t>
        <a:bodyPr/>
        <a:lstStyle/>
        <a:p>
          <a:endParaRPr lang="en-US"/>
        </a:p>
      </dgm:t>
    </dgm:pt>
    <dgm:pt modelId="{B3661DF2-5E3B-443E-A192-51B76E95506E}" type="pres">
      <dgm:prSet presAssocID="{1B539E6A-74F7-4DC5-8F96-129C177E382D}" presName="linear" presStyleCnt="0">
        <dgm:presLayoutVars>
          <dgm:animLvl val="lvl"/>
          <dgm:resizeHandles val="exact"/>
        </dgm:presLayoutVars>
      </dgm:prSet>
      <dgm:spPr/>
    </dgm:pt>
    <dgm:pt modelId="{FEAF8D72-9ADD-445A-886E-81FF3D97BFF3}" type="pres">
      <dgm:prSet presAssocID="{79E317D6-074F-49F8-88BF-C2925E14E5F6}" presName="parentText" presStyleLbl="node1" presStyleIdx="0" presStyleCnt="6" custLinFactNeighborY="-42268">
        <dgm:presLayoutVars>
          <dgm:chMax val="0"/>
          <dgm:bulletEnabled val="1"/>
        </dgm:presLayoutVars>
      </dgm:prSet>
      <dgm:spPr/>
    </dgm:pt>
    <dgm:pt modelId="{D1FF1488-E67C-48B3-A8FC-4BFC49543BE0}" type="pres">
      <dgm:prSet presAssocID="{B7C45FA7-9966-499B-9F80-796C7C49F9A1}" presName="spacer" presStyleCnt="0"/>
      <dgm:spPr/>
    </dgm:pt>
    <dgm:pt modelId="{A919A9B5-80AA-4C55-9E5A-0EE1FE0B80AC}" type="pres">
      <dgm:prSet presAssocID="{F4DC7359-C664-4316-8EF6-CBBAD2B9C4DC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5735DD08-9784-4497-8F61-AD750631D34E}" type="pres">
      <dgm:prSet presAssocID="{4734C620-93CF-4C82-AD23-17548ABFC753}" presName="spacer" presStyleCnt="0"/>
      <dgm:spPr/>
    </dgm:pt>
    <dgm:pt modelId="{AF130AD1-1B73-49C2-8CB0-84A0F8C7954D}" type="pres">
      <dgm:prSet presAssocID="{285D77F1-D8C7-4CFF-BEC7-C41031C85550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581A608A-910D-4E56-9A21-28C64D8721C1}" type="pres">
      <dgm:prSet presAssocID="{3752DCC1-0691-4084-9349-5E60C49FFD69}" presName="spacer" presStyleCnt="0"/>
      <dgm:spPr/>
    </dgm:pt>
    <dgm:pt modelId="{E7B1C4C5-B1E4-445C-9349-A6C7F1D25941}" type="pres">
      <dgm:prSet presAssocID="{CD35EC83-7CE5-4297-91BD-4BE0BB0240D7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F0BA0374-86B7-4056-8B65-6F1C6EBF82A1}" type="pres">
      <dgm:prSet presAssocID="{114E1F7A-B0D6-4CA6-9204-9C3889C3EA84}" presName="spacer" presStyleCnt="0"/>
      <dgm:spPr/>
    </dgm:pt>
    <dgm:pt modelId="{68400A83-4E9D-40A9-AB08-147A62F157B5}" type="pres">
      <dgm:prSet presAssocID="{668C7941-DB30-46B7-A6CE-991D633EEC41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C26D13BD-2018-47E5-96C5-00760F790A2B}" type="pres">
      <dgm:prSet presAssocID="{97944B9D-2FE9-4E70-AB9A-E75080C0001B}" presName="spacer" presStyleCnt="0"/>
      <dgm:spPr/>
    </dgm:pt>
    <dgm:pt modelId="{902F646D-CD59-4921-BBA1-5CA102EC9848}" type="pres">
      <dgm:prSet presAssocID="{48D47316-C376-4073-989D-388DE5BDAB4A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9F14211A-7A21-43EB-880A-E71B3F27A681}" srcId="{1B539E6A-74F7-4DC5-8F96-129C177E382D}" destId="{CD35EC83-7CE5-4297-91BD-4BE0BB0240D7}" srcOrd="3" destOrd="0" parTransId="{AD06FE40-8A38-4A59-A63B-DB5BE05329D6}" sibTransId="{114E1F7A-B0D6-4CA6-9204-9C3889C3EA84}"/>
    <dgm:cxn modelId="{D365993E-799A-45FE-B979-9D200AF70441}" srcId="{1B539E6A-74F7-4DC5-8F96-129C177E382D}" destId="{285D77F1-D8C7-4CFF-BEC7-C41031C85550}" srcOrd="2" destOrd="0" parTransId="{99EEF763-7985-4349-8B0C-91853BEBBC0D}" sibTransId="{3752DCC1-0691-4084-9349-5E60C49FFD69}"/>
    <dgm:cxn modelId="{2969D845-CC56-497C-9B9E-33D0B1EAFC76}" srcId="{1B539E6A-74F7-4DC5-8F96-129C177E382D}" destId="{668C7941-DB30-46B7-A6CE-991D633EEC41}" srcOrd="4" destOrd="0" parTransId="{2983662E-B07E-494B-B5DC-D59C6AE0792C}" sibTransId="{97944B9D-2FE9-4E70-AB9A-E75080C0001B}"/>
    <dgm:cxn modelId="{DAE5744C-AE66-4769-9D19-4BB0A53955D4}" type="presOf" srcId="{1B539E6A-74F7-4DC5-8F96-129C177E382D}" destId="{B3661DF2-5E3B-443E-A192-51B76E95506E}" srcOrd="0" destOrd="0" presId="urn:microsoft.com/office/officeart/2005/8/layout/vList2"/>
    <dgm:cxn modelId="{56A93860-B54B-4414-99AA-AD065F5EF4A9}" type="presOf" srcId="{CD35EC83-7CE5-4297-91BD-4BE0BB0240D7}" destId="{E7B1C4C5-B1E4-445C-9349-A6C7F1D25941}" srcOrd="0" destOrd="0" presId="urn:microsoft.com/office/officeart/2005/8/layout/vList2"/>
    <dgm:cxn modelId="{9598D283-BB47-4208-9D76-06674E04450C}" type="presOf" srcId="{668C7941-DB30-46B7-A6CE-991D633EEC41}" destId="{68400A83-4E9D-40A9-AB08-147A62F157B5}" srcOrd="0" destOrd="0" presId="urn:microsoft.com/office/officeart/2005/8/layout/vList2"/>
    <dgm:cxn modelId="{35E8D288-698B-402C-9CEB-4ECDF77C4218}" type="presOf" srcId="{285D77F1-D8C7-4CFF-BEC7-C41031C85550}" destId="{AF130AD1-1B73-49C2-8CB0-84A0F8C7954D}" srcOrd="0" destOrd="0" presId="urn:microsoft.com/office/officeart/2005/8/layout/vList2"/>
    <dgm:cxn modelId="{A73DBF95-5634-45E7-A206-8CD15E7690DA}" srcId="{1B539E6A-74F7-4DC5-8F96-129C177E382D}" destId="{48D47316-C376-4073-989D-388DE5BDAB4A}" srcOrd="5" destOrd="0" parTransId="{9D82E44B-F4BF-418E-9812-622B25688946}" sibTransId="{7C59A428-EBA6-46AD-9B28-7609582663B6}"/>
    <dgm:cxn modelId="{3980C896-5AB8-4E15-A8A6-2C708DFDAF43}" srcId="{1B539E6A-74F7-4DC5-8F96-129C177E382D}" destId="{79E317D6-074F-49F8-88BF-C2925E14E5F6}" srcOrd="0" destOrd="0" parTransId="{C3D26968-191A-44C9-A924-2A7E236771B6}" sibTransId="{B7C45FA7-9966-499B-9F80-796C7C49F9A1}"/>
    <dgm:cxn modelId="{F873DEB7-E010-4D4A-8939-5EB7963E6D05}" type="presOf" srcId="{48D47316-C376-4073-989D-388DE5BDAB4A}" destId="{902F646D-CD59-4921-BBA1-5CA102EC9848}" srcOrd="0" destOrd="0" presId="urn:microsoft.com/office/officeart/2005/8/layout/vList2"/>
    <dgm:cxn modelId="{79C1BFC0-683B-458F-B749-717CEEC65067}" type="presOf" srcId="{F4DC7359-C664-4316-8EF6-CBBAD2B9C4DC}" destId="{A919A9B5-80AA-4C55-9E5A-0EE1FE0B80AC}" srcOrd="0" destOrd="0" presId="urn:microsoft.com/office/officeart/2005/8/layout/vList2"/>
    <dgm:cxn modelId="{61CAD4DF-E43F-4F6A-A548-A36C6BD4E264}" srcId="{1B539E6A-74F7-4DC5-8F96-129C177E382D}" destId="{F4DC7359-C664-4316-8EF6-CBBAD2B9C4DC}" srcOrd="1" destOrd="0" parTransId="{8CADB029-58F7-45CB-97E4-AA16F818A9DA}" sibTransId="{4734C620-93CF-4C82-AD23-17548ABFC753}"/>
    <dgm:cxn modelId="{E854BDFD-2172-41E7-B924-DFBA3A344511}" type="presOf" srcId="{79E317D6-074F-49F8-88BF-C2925E14E5F6}" destId="{FEAF8D72-9ADD-445A-886E-81FF3D97BFF3}" srcOrd="0" destOrd="0" presId="urn:microsoft.com/office/officeart/2005/8/layout/vList2"/>
    <dgm:cxn modelId="{6F09FC1E-F1F6-422A-B771-23E4F3E88D14}" type="presParOf" srcId="{B3661DF2-5E3B-443E-A192-51B76E95506E}" destId="{FEAF8D72-9ADD-445A-886E-81FF3D97BFF3}" srcOrd="0" destOrd="0" presId="urn:microsoft.com/office/officeart/2005/8/layout/vList2"/>
    <dgm:cxn modelId="{0CD34A4E-D24D-4128-9192-E42024A4D0EC}" type="presParOf" srcId="{B3661DF2-5E3B-443E-A192-51B76E95506E}" destId="{D1FF1488-E67C-48B3-A8FC-4BFC49543BE0}" srcOrd="1" destOrd="0" presId="urn:microsoft.com/office/officeart/2005/8/layout/vList2"/>
    <dgm:cxn modelId="{FADAFC8C-B794-42F6-8600-446D0745F7EF}" type="presParOf" srcId="{B3661DF2-5E3B-443E-A192-51B76E95506E}" destId="{A919A9B5-80AA-4C55-9E5A-0EE1FE0B80AC}" srcOrd="2" destOrd="0" presId="urn:microsoft.com/office/officeart/2005/8/layout/vList2"/>
    <dgm:cxn modelId="{55689BD7-0196-46A6-8C7F-2499481C118D}" type="presParOf" srcId="{B3661DF2-5E3B-443E-A192-51B76E95506E}" destId="{5735DD08-9784-4497-8F61-AD750631D34E}" srcOrd="3" destOrd="0" presId="urn:microsoft.com/office/officeart/2005/8/layout/vList2"/>
    <dgm:cxn modelId="{90D54F93-58E9-48D3-A320-F5C96F9B7BE5}" type="presParOf" srcId="{B3661DF2-5E3B-443E-A192-51B76E95506E}" destId="{AF130AD1-1B73-49C2-8CB0-84A0F8C7954D}" srcOrd="4" destOrd="0" presId="urn:microsoft.com/office/officeart/2005/8/layout/vList2"/>
    <dgm:cxn modelId="{C712B696-237D-4781-B0CF-39C9CAC5B110}" type="presParOf" srcId="{B3661DF2-5E3B-443E-A192-51B76E95506E}" destId="{581A608A-910D-4E56-9A21-28C64D8721C1}" srcOrd="5" destOrd="0" presId="urn:microsoft.com/office/officeart/2005/8/layout/vList2"/>
    <dgm:cxn modelId="{D97D4BDE-092D-4154-8949-E7327365D069}" type="presParOf" srcId="{B3661DF2-5E3B-443E-A192-51B76E95506E}" destId="{E7B1C4C5-B1E4-445C-9349-A6C7F1D25941}" srcOrd="6" destOrd="0" presId="urn:microsoft.com/office/officeart/2005/8/layout/vList2"/>
    <dgm:cxn modelId="{0363B32A-9E05-4A78-ABA8-AC901EF460D1}" type="presParOf" srcId="{B3661DF2-5E3B-443E-A192-51B76E95506E}" destId="{F0BA0374-86B7-4056-8B65-6F1C6EBF82A1}" srcOrd="7" destOrd="0" presId="urn:microsoft.com/office/officeart/2005/8/layout/vList2"/>
    <dgm:cxn modelId="{707BBDED-5F76-4FD6-A171-B40B80BF4797}" type="presParOf" srcId="{B3661DF2-5E3B-443E-A192-51B76E95506E}" destId="{68400A83-4E9D-40A9-AB08-147A62F157B5}" srcOrd="8" destOrd="0" presId="urn:microsoft.com/office/officeart/2005/8/layout/vList2"/>
    <dgm:cxn modelId="{AA7AFEFA-20D9-4901-B83C-095D5AA96667}" type="presParOf" srcId="{B3661DF2-5E3B-443E-A192-51B76E95506E}" destId="{C26D13BD-2018-47E5-96C5-00760F790A2B}" srcOrd="9" destOrd="0" presId="urn:microsoft.com/office/officeart/2005/8/layout/vList2"/>
    <dgm:cxn modelId="{EFBCC2FD-59E7-4C97-A04C-5C56B45FD326}" type="presParOf" srcId="{B3661DF2-5E3B-443E-A192-51B76E95506E}" destId="{902F646D-CD59-4921-BBA1-5CA102EC9848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C4A12CBB-EE98-4E4E-B792-EE6194ABA100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2FBE5A57-1339-4D05-8337-FB4F32C78EFF}">
      <dgm:prSet/>
      <dgm:spPr/>
      <dgm:t>
        <a:bodyPr/>
        <a:lstStyle/>
        <a:p>
          <a:pPr rtl="0"/>
          <a:r>
            <a:rPr lang="en-US" dirty="0"/>
            <a:t>Journal Club</a:t>
          </a:r>
        </a:p>
      </dgm:t>
    </dgm:pt>
    <dgm:pt modelId="{5691248F-1C37-47DC-8D23-1A16727704B7}" type="parTrans" cxnId="{D2EC4CEA-2F4E-4AB1-ACB5-FDB2C5016E81}">
      <dgm:prSet/>
      <dgm:spPr/>
      <dgm:t>
        <a:bodyPr/>
        <a:lstStyle/>
        <a:p>
          <a:endParaRPr lang="en-US"/>
        </a:p>
      </dgm:t>
    </dgm:pt>
    <dgm:pt modelId="{AAEC98CA-24B4-49C3-BB8B-F37F8CF7E52C}" type="sibTrans" cxnId="{D2EC4CEA-2F4E-4AB1-ACB5-FDB2C5016E81}">
      <dgm:prSet/>
      <dgm:spPr/>
      <dgm:t>
        <a:bodyPr/>
        <a:lstStyle/>
        <a:p>
          <a:endParaRPr lang="en-US"/>
        </a:p>
      </dgm:t>
    </dgm:pt>
    <dgm:pt modelId="{01FD0946-1D7A-47CA-ACF8-59A09BA39911}">
      <dgm:prSet/>
      <dgm:spPr/>
      <dgm:t>
        <a:bodyPr/>
        <a:lstStyle/>
        <a:p>
          <a:pPr rtl="0"/>
          <a:r>
            <a:rPr lang="en-US" dirty="0"/>
            <a:t>Review recent paper from past 2 years</a:t>
          </a:r>
        </a:p>
      </dgm:t>
    </dgm:pt>
    <dgm:pt modelId="{CF18BACB-B0FC-4BD4-8CF2-47D378FB532E}" type="parTrans" cxnId="{85F4843A-93F7-48EA-A283-304924F68CD1}">
      <dgm:prSet/>
      <dgm:spPr/>
      <dgm:t>
        <a:bodyPr/>
        <a:lstStyle/>
        <a:p>
          <a:endParaRPr lang="en-US"/>
        </a:p>
      </dgm:t>
    </dgm:pt>
    <dgm:pt modelId="{71F8DB22-064D-423D-B964-9A32514822F6}" type="sibTrans" cxnId="{85F4843A-93F7-48EA-A283-304924F68CD1}">
      <dgm:prSet/>
      <dgm:spPr/>
      <dgm:t>
        <a:bodyPr/>
        <a:lstStyle/>
        <a:p>
          <a:endParaRPr lang="en-US"/>
        </a:p>
      </dgm:t>
    </dgm:pt>
    <dgm:pt modelId="{776D846C-DE0E-47C9-BD28-24810DEE04FF}">
      <dgm:prSet/>
      <dgm:spPr/>
      <dgm:t>
        <a:bodyPr/>
        <a:lstStyle/>
        <a:p>
          <a:pPr rtl="0"/>
          <a:r>
            <a:rPr lang="en-US" dirty="0"/>
            <a:t>Purpose: To learn critical appraisal skills </a:t>
          </a:r>
        </a:p>
      </dgm:t>
    </dgm:pt>
    <dgm:pt modelId="{0284502F-0C81-4E43-8600-9FB62F580D83}" type="parTrans" cxnId="{6B629C52-B246-46D1-B322-34C309D36E70}">
      <dgm:prSet/>
      <dgm:spPr/>
      <dgm:t>
        <a:bodyPr/>
        <a:lstStyle/>
        <a:p>
          <a:endParaRPr lang="en-US"/>
        </a:p>
      </dgm:t>
    </dgm:pt>
    <dgm:pt modelId="{B2F32E03-785F-41A8-BB03-2C5ED39661F5}" type="sibTrans" cxnId="{6B629C52-B246-46D1-B322-34C309D36E70}">
      <dgm:prSet/>
      <dgm:spPr/>
      <dgm:t>
        <a:bodyPr/>
        <a:lstStyle/>
        <a:p>
          <a:endParaRPr lang="en-US"/>
        </a:p>
      </dgm:t>
    </dgm:pt>
    <dgm:pt modelId="{1983B97F-028C-4599-B91E-7EA5E84717A1}">
      <dgm:prSet/>
      <dgm:spPr/>
      <dgm:t>
        <a:bodyPr/>
        <a:lstStyle/>
        <a:p>
          <a:pPr rtl="0"/>
          <a:r>
            <a:rPr lang="en-US" dirty="0"/>
            <a:t>Literature Review</a:t>
          </a:r>
        </a:p>
      </dgm:t>
    </dgm:pt>
    <dgm:pt modelId="{67AB422B-51FB-465D-808A-3D8E5999BC1D}" type="parTrans" cxnId="{E41BFF09-13B4-458C-8482-714F58211AE0}">
      <dgm:prSet/>
      <dgm:spPr/>
      <dgm:t>
        <a:bodyPr/>
        <a:lstStyle/>
        <a:p>
          <a:endParaRPr lang="en-US"/>
        </a:p>
      </dgm:t>
    </dgm:pt>
    <dgm:pt modelId="{E0AF5152-FDE3-47C1-ADD3-D466B698D123}" type="sibTrans" cxnId="{E41BFF09-13B4-458C-8482-714F58211AE0}">
      <dgm:prSet/>
      <dgm:spPr/>
      <dgm:t>
        <a:bodyPr/>
        <a:lstStyle/>
        <a:p>
          <a:endParaRPr lang="en-US"/>
        </a:p>
      </dgm:t>
    </dgm:pt>
    <dgm:pt modelId="{02E45473-BEB5-4E75-9F58-A6C342FF58CF}">
      <dgm:prSet/>
      <dgm:spPr/>
      <dgm:t>
        <a:bodyPr/>
        <a:lstStyle/>
        <a:p>
          <a:pPr rtl="0"/>
          <a:r>
            <a:rPr lang="en-US" dirty="0"/>
            <a:t>To review classic PEM articles</a:t>
          </a:r>
        </a:p>
      </dgm:t>
    </dgm:pt>
    <dgm:pt modelId="{2B9CA391-7114-4D0E-9426-789325320B03}" type="parTrans" cxnId="{E1E870A2-E1F5-4E3D-A4BA-E434E9CF12A8}">
      <dgm:prSet/>
      <dgm:spPr/>
      <dgm:t>
        <a:bodyPr/>
        <a:lstStyle/>
        <a:p>
          <a:endParaRPr lang="en-US"/>
        </a:p>
      </dgm:t>
    </dgm:pt>
    <dgm:pt modelId="{395F04D5-1186-4091-9CA2-72B6C21B405B}" type="sibTrans" cxnId="{E1E870A2-E1F5-4E3D-A4BA-E434E9CF12A8}">
      <dgm:prSet/>
      <dgm:spPr/>
      <dgm:t>
        <a:bodyPr/>
        <a:lstStyle/>
        <a:p>
          <a:endParaRPr lang="en-US"/>
        </a:p>
      </dgm:t>
    </dgm:pt>
    <dgm:pt modelId="{26BDD05F-6D15-420A-965A-FF6DFB65293F}">
      <dgm:prSet/>
      <dgm:spPr/>
      <dgm:t>
        <a:bodyPr/>
        <a:lstStyle/>
        <a:p>
          <a:pPr rtl="0"/>
          <a:r>
            <a:rPr lang="en-US" dirty="0"/>
            <a:t>To review recent ‘hot off the press’ articles that have been published within the past 6 months</a:t>
          </a:r>
        </a:p>
      </dgm:t>
    </dgm:pt>
    <dgm:pt modelId="{B4F4F725-2CB7-41CC-8FDA-8A7A8E07CA1C}" type="parTrans" cxnId="{0796042B-8083-4A23-BC23-CCE5CEA06439}">
      <dgm:prSet/>
      <dgm:spPr/>
      <dgm:t>
        <a:bodyPr/>
        <a:lstStyle/>
        <a:p>
          <a:endParaRPr lang="en-US"/>
        </a:p>
      </dgm:t>
    </dgm:pt>
    <dgm:pt modelId="{5896E318-1310-4467-ADEB-89B24F142DA3}" type="sibTrans" cxnId="{0796042B-8083-4A23-BC23-CCE5CEA06439}">
      <dgm:prSet/>
      <dgm:spPr/>
      <dgm:t>
        <a:bodyPr/>
        <a:lstStyle/>
        <a:p>
          <a:endParaRPr lang="en-US"/>
        </a:p>
      </dgm:t>
    </dgm:pt>
    <dgm:pt modelId="{18FA130B-34B9-4E64-AB10-6BE9DF61A2C3}" type="pres">
      <dgm:prSet presAssocID="{C4A12CBB-EE98-4E4E-B792-EE6194ABA100}" presName="linear" presStyleCnt="0">
        <dgm:presLayoutVars>
          <dgm:animLvl val="lvl"/>
          <dgm:resizeHandles val="exact"/>
        </dgm:presLayoutVars>
      </dgm:prSet>
      <dgm:spPr/>
    </dgm:pt>
    <dgm:pt modelId="{15FC172A-D0FA-49CF-AB6A-8E41F9BDCF2D}" type="pres">
      <dgm:prSet presAssocID="{2FBE5A57-1339-4D05-8337-FB4F32C78EFF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2D6F236B-F7E3-4F2D-A8DD-47054028ED3D}" type="pres">
      <dgm:prSet presAssocID="{2FBE5A57-1339-4D05-8337-FB4F32C78EFF}" presName="childText" presStyleLbl="revTx" presStyleIdx="0" presStyleCnt="2">
        <dgm:presLayoutVars>
          <dgm:bulletEnabled val="1"/>
        </dgm:presLayoutVars>
      </dgm:prSet>
      <dgm:spPr/>
    </dgm:pt>
    <dgm:pt modelId="{2DB1E04D-F04E-400A-9A0E-44551F3396AE}" type="pres">
      <dgm:prSet presAssocID="{1983B97F-028C-4599-B91E-7EA5E84717A1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0D781816-900F-4A88-8AF7-9E0A990A8AE1}" type="pres">
      <dgm:prSet presAssocID="{1983B97F-028C-4599-B91E-7EA5E84717A1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E41BFF09-13B4-458C-8482-714F58211AE0}" srcId="{C4A12CBB-EE98-4E4E-B792-EE6194ABA100}" destId="{1983B97F-028C-4599-B91E-7EA5E84717A1}" srcOrd="1" destOrd="0" parTransId="{67AB422B-51FB-465D-808A-3D8E5999BC1D}" sibTransId="{E0AF5152-FDE3-47C1-ADD3-D466B698D123}"/>
    <dgm:cxn modelId="{BE7CA826-585F-45BA-A689-C8488575FE8F}" type="presOf" srcId="{2FBE5A57-1339-4D05-8337-FB4F32C78EFF}" destId="{15FC172A-D0FA-49CF-AB6A-8E41F9BDCF2D}" srcOrd="0" destOrd="0" presId="urn:microsoft.com/office/officeart/2005/8/layout/vList2"/>
    <dgm:cxn modelId="{0796042B-8083-4A23-BC23-CCE5CEA06439}" srcId="{1983B97F-028C-4599-B91E-7EA5E84717A1}" destId="{26BDD05F-6D15-420A-965A-FF6DFB65293F}" srcOrd="1" destOrd="0" parTransId="{B4F4F725-2CB7-41CC-8FDA-8A7A8E07CA1C}" sibTransId="{5896E318-1310-4467-ADEB-89B24F142DA3}"/>
    <dgm:cxn modelId="{85F4843A-93F7-48EA-A283-304924F68CD1}" srcId="{2FBE5A57-1339-4D05-8337-FB4F32C78EFF}" destId="{01FD0946-1D7A-47CA-ACF8-59A09BA39911}" srcOrd="1" destOrd="0" parTransId="{CF18BACB-B0FC-4BD4-8CF2-47D378FB532E}" sibTransId="{71F8DB22-064D-423D-B964-9A32514822F6}"/>
    <dgm:cxn modelId="{5C2B3440-9DC1-43E3-8499-E3AE47A24890}" type="presOf" srcId="{26BDD05F-6D15-420A-965A-FF6DFB65293F}" destId="{0D781816-900F-4A88-8AF7-9E0A990A8AE1}" srcOrd="0" destOrd="1" presId="urn:microsoft.com/office/officeart/2005/8/layout/vList2"/>
    <dgm:cxn modelId="{6B629C52-B246-46D1-B322-34C309D36E70}" srcId="{2FBE5A57-1339-4D05-8337-FB4F32C78EFF}" destId="{776D846C-DE0E-47C9-BD28-24810DEE04FF}" srcOrd="0" destOrd="0" parTransId="{0284502F-0C81-4E43-8600-9FB62F580D83}" sibTransId="{B2F32E03-785F-41A8-BB03-2C5ED39661F5}"/>
    <dgm:cxn modelId="{75159A83-9ECF-42E6-AFD3-03C0E244A256}" type="presOf" srcId="{1983B97F-028C-4599-B91E-7EA5E84717A1}" destId="{2DB1E04D-F04E-400A-9A0E-44551F3396AE}" srcOrd="0" destOrd="0" presId="urn:microsoft.com/office/officeart/2005/8/layout/vList2"/>
    <dgm:cxn modelId="{D077AE94-1DAD-4A5A-82B6-B6F39F7FE078}" type="presOf" srcId="{776D846C-DE0E-47C9-BD28-24810DEE04FF}" destId="{2D6F236B-F7E3-4F2D-A8DD-47054028ED3D}" srcOrd="0" destOrd="0" presId="urn:microsoft.com/office/officeart/2005/8/layout/vList2"/>
    <dgm:cxn modelId="{B8F6B19A-86FE-4DF8-B530-41E82B0016C6}" type="presOf" srcId="{01FD0946-1D7A-47CA-ACF8-59A09BA39911}" destId="{2D6F236B-F7E3-4F2D-A8DD-47054028ED3D}" srcOrd="0" destOrd="1" presId="urn:microsoft.com/office/officeart/2005/8/layout/vList2"/>
    <dgm:cxn modelId="{E1E870A2-E1F5-4E3D-A4BA-E434E9CF12A8}" srcId="{1983B97F-028C-4599-B91E-7EA5E84717A1}" destId="{02E45473-BEB5-4E75-9F58-A6C342FF58CF}" srcOrd="0" destOrd="0" parTransId="{2B9CA391-7114-4D0E-9426-789325320B03}" sibTransId="{395F04D5-1186-4091-9CA2-72B6C21B405B}"/>
    <dgm:cxn modelId="{6FAF6EBD-CAA7-40B6-8A88-9C74ADB61BC2}" type="presOf" srcId="{02E45473-BEB5-4E75-9F58-A6C342FF58CF}" destId="{0D781816-900F-4A88-8AF7-9E0A990A8AE1}" srcOrd="0" destOrd="0" presId="urn:microsoft.com/office/officeart/2005/8/layout/vList2"/>
    <dgm:cxn modelId="{FEE9F2C9-2952-462F-92F1-8860BDC0AC24}" type="presOf" srcId="{C4A12CBB-EE98-4E4E-B792-EE6194ABA100}" destId="{18FA130B-34B9-4E64-AB10-6BE9DF61A2C3}" srcOrd="0" destOrd="0" presId="urn:microsoft.com/office/officeart/2005/8/layout/vList2"/>
    <dgm:cxn modelId="{D2EC4CEA-2F4E-4AB1-ACB5-FDB2C5016E81}" srcId="{C4A12CBB-EE98-4E4E-B792-EE6194ABA100}" destId="{2FBE5A57-1339-4D05-8337-FB4F32C78EFF}" srcOrd="0" destOrd="0" parTransId="{5691248F-1C37-47DC-8D23-1A16727704B7}" sibTransId="{AAEC98CA-24B4-49C3-BB8B-F37F8CF7E52C}"/>
    <dgm:cxn modelId="{BDF93FBB-761C-44EF-B78D-5060C7F2F759}" type="presParOf" srcId="{18FA130B-34B9-4E64-AB10-6BE9DF61A2C3}" destId="{15FC172A-D0FA-49CF-AB6A-8E41F9BDCF2D}" srcOrd="0" destOrd="0" presId="urn:microsoft.com/office/officeart/2005/8/layout/vList2"/>
    <dgm:cxn modelId="{B3D53BF9-4EEC-4756-9689-69D363749FCD}" type="presParOf" srcId="{18FA130B-34B9-4E64-AB10-6BE9DF61A2C3}" destId="{2D6F236B-F7E3-4F2D-A8DD-47054028ED3D}" srcOrd="1" destOrd="0" presId="urn:microsoft.com/office/officeart/2005/8/layout/vList2"/>
    <dgm:cxn modelId="{660C5CE1-B58E-4085-96D7-9BAF4B430EAF}" type="presParOf" srcId="{18FA130B-34B9-4E64-AB10-6BE9DF61A2C3}" destId="{2DB1E04D-F04E-400A-9A0E-44551F3396AE}" srcOrd="2" destOrd="0" presId="urn:microsoft.com/office/officeart/2005/8/layout/vList2"/>
    <dgm:cxn modelId="{0A108273-A41C-42C1-A59D-1C941C3B5AA1}" type="presParOf" srcId="{18FA130B-34B9-4E64-AB10-6BE9DF61A2C3}" destId="{0D781816-900F-4A88-8AF7-9E0A990A8AE1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AD7390CE-DCCD-42A9-B68F-D3A9026C4A5D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612AA8C-9A0D-4768-B05E-5DAE367F81D0}">
      <dgm:prSet/>
      <dgm:spPr/>
      <dgm:t>
        <a:bodyPr/>
        <a:lstStyle/>
        <a:p>
          <a:pPr rtl="0"/>
          <a:r>
            <a:rPr lang="en-US" dirty="0"/>
            <a:t>Attend journal club, fellow lecture, follow-up rounds and QPI presentation for mentee </a:t>
          </a:r>
        </a:p>
      </dgm:t>
    </dgm:pt>
    <dgm:pt modelId="{3714144C-A92C-4533-8320-638BF901B674}" type="parTrans" cxnId="{57CD674A-557E-4929-8A29-6C7E9C984258}">
      <dgm:prSet/>
      <dgm:spPr/>
      <dgm:t>
        <a:bodyPr/>
        <a:lstStyle/>
        <a:p>
          <a:endParaRPr lang="en-US"/>
        </a:p>
      </dgm:t>
    </dgm:pt>
    <dgm:pt modelId="{62E1A21E-DCF8-4718-A4CB-0412D85ECB06}" type="sibTrans" cxnId="{57CD674A-557E-4929-8A29-6C7E9C984258}">
      <dgm:prSet/>
      <dgm:spPr/>
      <dgm:t>
        <a:bodyPr/>
        <a:lstStyle/>
        <a:p>
          <a:endParaRPr lang="en-US"/>
        </a:p>
      </dgm:t>
    </dgm:pt>
    <dgm:pt modelId="{EFB7A9B3-2E43-4769-B5C7-BD3EC0CCED5C}">
      <dgm:prSet/>
      <dgm:spPr/>
      <dgm:t>
        <a:bodyPr/>
        <a:lstStyle/>
        <a:p>
          <a:pPr rtl="0"/>
          <a:r>
            <a:rPr lang="en-US"/>
            <a:t>Give quarterly feedback to mentee on clinical/academic performance</a:t>
          </a:r>
        </a:p>
      </dgm:t>
    </dgm:pt>
    <dgm:pt modelId="{ED8E6DB0-BC65-4F7B-9CAE-757CEC19C0B1}" type="parTrans" cxnId="{02AC3423-FEB4-47A3-8F8D-BC08215150CA}">
      <dgm:prSet/>
      <dgm:spPr/>
      <dgm:t>
        <a:bodyPr/>
        <a:lstStyle/>
        <a:p>
          <a:endParaRPr lang="en-US"/>
        </a:p>
      </dgm:t>
    </dgm:pt>
    <dgm:pt modelId="{482CEB9B-5C6D-4BB7-B0AE-2BAEE52FF39B}" type="sibTrans" cxnId="{02AC3423-FEB4-47A3-8F8D-BC08215150CA}">
      <dgm:prSet/>
      <dgm:spPr/>
      <dgm:t>
        <a:bodyPr/>
        <a:lstStyle/>
        <a:p>
          <a:endParaRPr lang="en-US"/>
        </a:p>
      </dgm:t>
    </dgm:pt>
    <dgm:pt modelId="{0C01CF6A-4B74-473D-80C1-942CDC4F5BA3}">
      <dgm:prSet/>
      <dgm:spPr/>
      <dgm:t>
        <a:bodyPr/>
        <a:lstStyle/>
        <a:p>
          <a:pPr rtl="0"/>
          <a:r>
            <a:rPr lang="en-US" b="1" u="none"/>
            <a:t>Research Mentor</a:t>
          </a:r>
          <a:endParaRPr lang="en-US" u="none"/>
        </a:p>
      </dgm:t>
    </dgm:pt>
    <dgm:pt modelId="{894204B9-3E4F-4EDD-807B-9E3389CAE523}" type="parTrans" cxnId="{297615D4-0B46-409D-81CD-1CD5176DC5E3}">
      <dgm:prSet/>
      <dgm:spPr/>
      <dgm:t>
        <a:bodyPr/>
        <a:lstStyle/>
        <a:p>
          <a:endParaRPr lang="en-US"/>
        </a:p>
      </dgm:t>
    </dgm:pt>
    <dgm:pt modelId="{644CAAB9-8267-4553-9937-0B2C81095D8F}" type="sibTrans" cxnId="{297615D4-0B46-409D-81CD-1CD5176DC5E3}">
      <dgm:prSet/>
      <dgm:spPr/>
      <dgm:t>
        <a:bodyPr/>
        <a:lstStyle/>
        <a:p>
          <a:endParaRPr lang="en-US"/>
        </a:p>
      </dgm:t>
    </dgm:pt>
    <dgm:pt modelId="{63E47220-FB03-4911-A0BA-4375B2E3314C}">
      <dgm:prSet/>
      <dgm:spPr/>
      <dgm:t>
        <a:bodyPr/>
        <a:lstStyle/>
        <a:p>
          <a:pPr rtl="0"/>
          <a:r>
            <a:rPr lang="en-US"/>
            <a:t>Participate in ACER sessions with fellow</a:t>
          </a:r>
        </a:p>
      </dgm:t>
    </dgm:pt>
    <dgm:pt modelId="{38B0319A-26B2-423B-A5A8-8D88B87B2269}" type="parTrans" cxnId="{5B9E24DF-3BE3-4AD9-BB83-BBDA8F8F8589}">
      <dgm:prSet/>
      <dgm:spPr/>
      <dgm:t>
        <a:bodyPr/>
        <a:lstStyle/>
        <a:p>
          <a:endParaRPr lang="en-US"/>
        </a:p>
      </dgm:t>
    </dgm:pt>
    <dgm:pt modelId="{B8C7F38B-C489-459C-BDC7-1BB3B6132B79}" type="sibTrans" cxnId="{5B9E24DF-3BE3-4AD9-BB83-BBDA8F8F8589}">
      <dgm:prSet/>
      <dgm:spPr/>
      <dgm:t>
        <a:bodyPr/>
        <a:lstStyle/>
        <a:p>
          <a:endParaRPr lang="en-US"/>
        </a:p>
      </dgm:t>
    </dgm:pt>
    <dgm:pt modelId="{F72FA56C-B504-43BD-9DBC-5EF9C7640854}">
      <dgm:prSet/>
      <dgm:spPr/>
      <dgm:t>
        <a:bodyPr/>
        <a:lstStyle/>
        <a:p>
          <a:pPr rtl="0"/>
          <a:r>
            <a:rPr lang="en-US"/>
            <a:t>Review the fellow’s proposal prior to submission to ACER</a:t>
          </a:r>
        </a:p>
      </dgm:t>
    </dgm:pt>
    <dgm:pt modelId="{C43FA32F-531B-497A-90CF-CB6DB944C991}" type="parTrans" cxnId="{2AA6C761-B900-45B7-A466-8AA094BA2658}">
      <dgm:prSet/>
      <dgm:spPr/>
      <dgm:t>
        <a:bodyPr/>
        <a:lstStyle/>
        <a:p>
          <a:endParaRPr lang="en-US"/>
        </a:p>
      </dgm:t>
    </dgm:pt>
    <dgm:pt modelId="{E309DFBE-3083-4410-8C3C-ACAE278C4285}" type="sibTrans" cxnId="{2AA6C761-B900-45B7-A466-8AA094BA2658}">
      <dgm:prSet/>
      <dgm:spPr/>
      <dgm:t>
        <a:bodyPr/>
        <a:lstStyle/>
        <a:p>
          <a:endParaRPr lang="en-US"/>
        </a:p>
      </dgm:t>
    </dgm:pt>
    <dgm:pt modelId="{A55AC925-6719-4878-A42F-B342465F394F}">
      <dgm:prSet/>
      <dgm:spPr/>
      <dgm:t>
        <a:bodyPr/>
        <a:lstStyle/>
        <a:p>
          <a:pPr rtl="0"/>
          <a:r>
            <a:rPr lang="en-US"/>
            <a:t>Review the fellow’s IRB prior to submission</a:t>
          </a:r>
        </a:p>
      </dgm:t>
    </dgm:pt>
    <dgm:pt modelId="{24DB5117-3B01-46C3-BBAB-C93697140949}" type="parTrans" cxnId="{3D014D8A-BC04-4DE0-833C-E5488A655CC5}">
      <dgm:prSet/>
      <dgm:spPr/>
      <dgm:t>
        <a:bodyPr/>
        <a:lstStyle/>
        <a:p>
          <a:endParaRPr lang="en-US"/>
        </a:p>
      </dgm:t>
    </dgm:pt>
    <dgm:pt modelId="{0A8CBF16-BB35-46EB-90FB-04BEAD8003A3}" type="sibTrans" cxnId="{3D014D8A-BC04-4DE0-833C-E5488A655CC5}">
      <dgm:prSet/>
      <dgm:spPr/>
      <dgm:t>
        <a:bodyPr/>
        <a:lstStyle/>
        <a:p>
          <a:endParaRPr lang="en-US"/>
        </a:p>
      </dgm:t>
    </dgm:pt>
    <dgm:pt modelId="{E4AF2B17-6333-4D55-8946-FD2F70F6BB81}">
      <dgm:prSet/>
      <dgm:spPr/>
      <dgm:t>
        <a:bodyPr/>
        <a:lstStyle/>
        <a:p>
          <a:pPr rtl="0"/>
          <a:r>
            <a:rPr lang="en-US"/>
            <a:t>Review abstracts and manuscripts prior to submission</a:t>
          </a:r>
        </a:p>
      </dgm:t>
    </dgm:pt>
    <dgm:pt modelId="{8956B040-9914-479A-932D-02D847232251}" type="parTrans" cxnId="{93A55E47-2F76-4A7F-88B9-3C3B6409C9FA}">
      <dgm:prSet/>
      <dgm:spPr/>
      <dgm:t>
        <a:bodyPr/>
        <a:lstStyle/>
        <a:p>
          <a:endParaRPr lang="en-US"/>
        </a:p>
      </dgm:t>
    </dgm:pt>
    <dgm:pt modelId="{3D4BB29D-2FE7-473D-8141-F699D9EFAD22}" type="sibTrans" cxnId="{93A55E47-2F76-4A7F-88B9-3C3B6409C9FA}">
      <dgm:prSet/>
      <dgm:spPr/>
      <dgm:t>
        <a:bodyPr/>
        <a:lstStyle/>
        <a:p>
          <a:endParaRPr lang="en-US"/>
        </a:p>
      </dgm:t>
    </dgm:pt>
    <dgm:pt modelId="{5F13E31A-837D-4DBC-A7F1-57F4AF2A23A6}">
      <dgm:prSet/>
      <dgm:spPr/>
      <dgm:t>
        <a:bodyPr/>
        <a:lstStyle/>
        <a:p>
          <a:pPr rtl="0"/>
          <a:r>
            <a:rPr lang="en-US" b="1" u="none"/>
            <a:t>Both</a:t>
          </a:r>
          <a:endParaRPr lang="en-US" u="none"/>
        </a:p>
      </dgm:t>
    </dgm:pt>
    <dgm:pt modelId="{5F613583-EC06-435D-A1B9-B6702F9F6FEB}" type="parTrans" cxnId="{8D6AE265-9F6C-46FB-A8AB-B561E8166892}">
      <dgm:prSet/>
      <dgm:spPr/>
      <dgm:t>
        <a:bodyPr/>
        <a:lstStyle/>
        <a:p>
          <a:endParaRPr lang="en-US"/>
        </a:p>
      </dgm:t>
    </dgm:pt>
    <dgm:pt modelId="{F0968D25-AB43-4C3D-BD7B-EF08021B1226}" type="sibTrans" cxnId="{8D6AE265-9F6C-46FB-A8AB-B561E8166892}">
      <dgm:prSet/>
      <dgm:spPr/>
      <dgm:t>
        <a:bodyPr/>
        <a:lstStyle/>
        <a:p>
          <a:endParaRPr lang="en-US"/>
        </a:p>
      </dgm:t>
    </dgm:pt>
    <dgm:pt modelId="{1BD7ACD5-D8D6-4FF0-9237-3E33DCD7E6CC}">
      <dgm:prSet/>
      <dgm:spPr/>
      <dgm:t>
        <a:bodyPr/>
        <a:lstStyle/>
        <a:p>
          <a:pPr rtl="0"/>
          <a:r>
            <a:rPr lang="en-US"/>
            <a:t>Review posters and slides prior to presentations</a:t>
          </a:r>
        </a:p>
      </dgm:t>
    </dgm:pt>
    <dgm:pt modelId="{AECFB5A6-2395-4C08-9E92-4CAF087F6DB6}" type="parTrans" cxnId="{EFED7579-1D3B-4662-A535-0475FD86072E}">
      <dgm:prSet/>
      <dgm:spPr/>
      <dgm:t>
        <a:bodyPr/>
        <a:lstStyle/>
        <a:p>
          <a:endParaRPr lang="en-US"/>
        </a:p>
      </dgm:t>
    </dgm:pt>
    <dgm:pt modelId="{8D430480-F0A1-4757-BB69-2919BE17AFBD}" type="sibTrans" cxnId="{EFED7579-1D3B-4662-A535-0475FD86072E}">
      <dgm:prSet/>
      <dgm:spPr/>
      <dgm:t>
        <a:bodyPr/>
        <a:lstStyle/>
        <a:p>
          <a:endParaRPr lang="en-US"/>
        </a:p>
      </dgm:t>
    </dgm:pt>
    <dgm:pt modelId="{20CE5403-BCF2-481F-8688-A47B3173F1A6}">
      <dgm:prSet/>
      <dgm:spPr/>
      <dgm:t>
        <a:bodyPr/>
        <a:lstStyle/>
        <a:p>
          <a:pPr rtl="0"/>
          <a:r>
            <a:rPr lang="en-US"/>
            <a:t>Attend 2 SOC meetings per year</a:t>
          </a:r>
        </a:p>
      </dgm:t>
    </dgm:pt>
    <dgm:pt modelId="{92BC3E7F-33B2-4220-BA59-5EF6BC64CEBC}" type="parTrans" cxnId="{3DB40E45-C1AC-43B8-A442-1C1D75B8402E}">
      <dgm:prSet/>
      <dgm:spPr/>
      <dgm:t>
        <a:bodyPr/>
        <a:lstStyle/>
        <a:p>
          <a:endParaRPr lang="en-US"/>
        </a:p>
      </dgm:t>
    </dgm:pt>
    <dgm:pt modelId="{B334C80C-574D-4ACD-A35B-25701CE1FFBD}" type="sibTrans" cxnId="{3DB40E45-C1AC-43B8-A442-1C1D75B8402E}">
      <dgm:prSet/>
      <dgm:spPr/>
      <dgm:t>
        <a:bodyPr/>
        <a:lstStyle/>
        <a:p>
          <a:endParaRPr lang="en-US"/>
        </a:p>
      </dgm:t>
    </dgm:pt>
    <dgm:pt modelId="{77A64978-D002-424E-8891-65AED2CACFBA}">
      <dgm:prSet/>
      <dgm:spPr/>
      <dgm:t>
        <a:bodyPr/>
        <a:lstStyle/>
        <a:p>
          <a:pPr rtl="0"/>
          <a:r>
            <a:rPr lang="en-US" b="1" u="none" dirty="0"/>
            <a:t>Mentor</a:t>
          </a:r>
        </a:p>
      </dgm:t>
    </dgm:pt>
    <dgm:pt modelId="{904190DB-2163-4241-8F28-A7DB2F20920B}" type="sibTrans" cxnId="{0341D399-C6D1-4A0D-BFE6-EA904BBA2D75}">
      <dgm:prSet/>
      <dgm:spPr/>
      <dgm:t>
        <a:bodyPr/>
        <a:lstStyle/>
        <a:p>
          <a:endParaRPr lang="en-US"/>
        </a:p>
      </dgm:t>
    </dgm:pt>
    <dgm:pt modelId="{CB099AB6-DA02-4E2F-9558-71DF0615902E}" type="parTrans" cxnId="{0341D399-C6D1-4A0D-BFE6-EA904BBA2D75}">
      <dgm:prSet/>
      <dgm:spPr/>
      <dgm:t>
        <a:bodyPr/>
        <a:lstStyle/>
        <a:p>
          <a:endParaRPr lang="en-US"/>
        </a:p>
      </dgm:t>
    </dgm:pt>
    <dgm:pt modelId="{E5A598D0-53A7-418C-A854-766C1528BA0B}" type="pres">
      <dgm:prSet presAssocID="{AD7390CE-DCCD-42A9-B68F-D3A9026C4A5D}" presName="linear" presStyleCnt="0">
        <dgm:presLayoutVars>
          <dgm:animLvl val="lvl"/>
          <dgm:resizeHandles val="exact"/>
        </dgm:presLayoutVars>
      </dgm:prSet>
      <dgm:spPr/>
    </dgm:pt>
    <dgm:pt modelId="{09C1704E-8A91-4004-A9EF-9DE5E9590D49}" type="pres">
      <dgm:prSet presAssocID="{77A64978-D002-424E-8891-65AED2CACFBA}" presName="parentText" presStyleLbl="node1" presStyleIdx="0" presStyleCnt="3" custLinFactNeighborX="-4197" custLinFactNeighborY="2642">
        <dgm:presLayoutVars>
          <dgm:chMax val="0"/>
          <dgm:bulletEnabled val="1"/>
        </dgm:presLayoutVars>
      </dgm:prSet>
      <dgm:spPr/>
    </dgm:pt>
    <dgm:pt modelId="{2B643849-C3A4-4D57-AFC5-FDB562633774}" type="pres">
      <dgm:prSet presAssocID="{77A64978-D002-424E-8891-65AED2CACFBA}" presName="childText" presStyleLbl="revTx" presStyleIdx="0" presStyleCnt="3">
        <dgm:presLayoutVars>
          <dgm:bulletEnabled val="1"/>
        </dgm:presLayoutVars>
      </dgm:prSet>
      <dgm:spPr/>
    </dgm:pt>
    <dgm:pt modelId="{9822599E-3FB3-4BFE-A81F-EC4092DEF0D5}" type="pres">
      <dgm:prSet presAssocID="{0C01CF6A-4B74-473D-80C1-942CDC4F5BA3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93ED6F2-1EF9-4726-8C0E-41F9B5E4B459}" type="pres">
      <dgm:prSet presAssocID="{0C01CF6A-4B74-473D-80C1-942CDC4F5BA3}" presName="childText" presStyleLbl="revTx" presStyleIdx="1" presStyleCnt="3">
        <dgm:presLayoutVars>
          <dgm:bulletEnabled val="1"/>
        </dgm:presLayoutVars>
      </dgm:prSet>
      <dgm:spPr/>
    </dgm:pt>
    <dgm:pt modelId="{DA6BBA0C-09F5-4675-A738-FE9A0CEB30CD}" type="pres">
      <dgm:prSet presAssocID="{5F13E31A-837D-4DBC-A7F1-57F4AF2A23A6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E277AD59-A1A2-49ED-9B4C-2A08097AE352}" type="pres">
      <dgm:prSet presAssocID="{5F13E31A-837D-4DBC-A7F1-57F4AF2A23A6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9A80101D-28E6-4A19-9B57-26E98789A5B3}" type="presOf" srcId="{E4AF2B17-6333-4D55-8946-FD2F70F6BB81}" destId="{093ED6F2-1EF9-4726-8C0E-41F9B5E4B459}" srcOrd="0" destOrd="3" presId="urn:microsoft.com/office/officeart/2005/8/layout/vList2"/>
    <dgm:cxn modelId="{02AC3423-FEB4-47A3-8F8D-BC08215150CA}" srcId="{77A64978-D002-424E-8891-65AED2CACFBA}" destId="{EFB7A9B3-2E43-4769-B5C7-BD3EC0CCED5C}" srcOrd="1" destOrd="0" parTransId="{ED8E6DB0-BC65-4F7B-9CAE-757CEC19C0B1}" sibTransId="{482CEB9B-5C6D-4BB7-B0AE-2BAEE52FF39B}"/>
    <dgm:cxn modelId="{7B1BB630-F7D6-4D2E-9F51-16441D95FBBF}" type="presOf" srcId="{20CE5403-BCF2-481F-8688-A47B3173F1A6}" destId="{E277AD59-A1A2-49ED-9B4C-2A08097AE352}" srcOrd="0" destOrd="1" presId="urn:microsoft.com/office/officeart/2005/8/layout/vList2"/>
    <dgm:cxn modelId="{1D1E1F33-A8D9-43B7-BCE0-99260A3388D1}" type="presOf" srcId="{AD7390CE-DCCD-42A9-B68F-D3A9026C4A5D}" destId="{E5A598D0-53A7-418C-A854-766C1528BA0B}" srcOrd="0" destOrd="0" presId="urn:microsoft.com/office/officeart/2005/8/layout/vList2"/>
    <dgm:cxn modelId="{3DB40E45-C1AC-43B8-A442-1C1D75B8402E}" srcId="{5F13E31A-837D-4DBC-A7F1-57F4AF2A23A6}" destId="{20CE5403-BCF2-481F-8688-A47B3173F1A6}" srcOrd="1" destOrd="0" parTransId="{92BC3E7F-33B2-4220-BA59-5EF6BC64CEBC}" sibTransId="{B334C80C-574D-4ACD-A35B-25701CE1FFBD}"/>
    <dgm:cxn modelId="{93A55E47-2F76-4A7F-88B9-3C3B6409C9FA}" srcId="{0C01CF6A-4B74-473D-80C1-942CDC4F5BA3}" destId="{E4AF2B17-6333-4D55-8946-FD2F70F6BB81}" srcOrd="3" destOrd="0" parTransId="{8956B040-9914-479A-932D-02D847232251}" sibTransId="{3D4BB29D-2FE7-473D-8141-F699D9EFAD22}"/>
    <dgm:cxn modelId="{57CD674A-557E-4929-8A29-6C7E9C984258}" srcId="{77A64978-D002-424E-8891-65AED2CACFBA}" destId="{9612AA8C-9A0D-4768-B05E-5DAE367F81D0}" srcOrd="0" destOrd="0" parTransId="{3714144C-A92C-4533-8320-638BF901B674}" sibTransId="{62E1A21E-DCF8-4718-A4CB-0412D85ECB06}"/>
    <dgm:cxn modelId="{CD4EE156-3C1E-4BCC-B1FB-4CBE0FEE344A}" type="presOf" srcId="{0C01CF6A-4B74-473D-80C1-942CDC4F5BA3}" destId="{9822599E-3FB3-4BFE-A81F-EC4092DEF0D5}" srcOrd="0" destOrd="0" presId="urn:microsoft.com/office/officeart/2005/8/layout/vList2"/>
    <dgm:cxn modelId="{1AFFE156-BEDD-4AEB-A1CA-09BBB584E6FF}" type="presOf" srcId="{1BD7ACD5-D8D6-4FF0-9237-3E33DCD7E6CC}" destId="{E277AD59-A1A2-49ED-9B4C-2A08097AE352}" srcOrd="0" destOrd="0" presId="urn:microsoft.com/office/officeart/2005/8/layout/vList2"/>
    <dgm:cxn modelId="{6A47E259-CC5B-49A3-9383-4D335D2BD56D}" type="presOf" srcId="{63E47220-FB03-4911-A0BA-4375B2E3314C}" destId="{093ED6F2-1EF9-4726-8C0E-41F9B5E4B459}" srcOrd="0" destOrd="0" presId="urn:microsoft.com/office/officeart/2005/8/layout/vList2"/>
    <dgm:cxn modelId="{2AA6C761-B900-45B7-A466-8AA094BA2658}" srcId="{0C01CF6A-4B74-473D-80C1-942CDC4F5BA3}" destId="{F72FA56C-B504-43BD-9DBC-5EF9C7640854}" srcOrd="1" destOrd="0" parTransId="{C43FA32F-531B-497A-90CF-CB6DB944C991}" sibTransId="{E309DFBE-3083-4410-8C3C-ACAE278C4285}"/>
    <dgm:cxn modelId="{8D6AE265-9F6C-46FB-A8AB-B561E8166892}" srcId="{AD7390CE-DCCD-42A9-B68F-D3A9026C4A5D}" destId="{5F13E31A-837D-4DBC-A7F1-57F4AF2A23A6}" srcOrd="2" destOrd="0" parTransId="{5F613583-EC06-435D-A1B9-B6702F9F6FEB}" sibTransId="{F0968D25-AB43-4C3D-BD7B-EF08021B1226}"/>
    <dgm:cxn modelId="{EFED7579-1D3B-4662-A535-0475FD86072E}" srcId="{5F13E31A-837D-4DBC-A7F1-57F4AF2A23A6}" destId="{1BD7ACD5-D8D6-4FF0-9237-3E33DCD7E6CC}" srcOrd="0" destOrd="0" parTransId="{AECFB5A6-2395-4C08-9E92-4CAF087F6DB6}" sibTransId="{8D430480-F0A1-4757-BB69-2919BE17AFBD}"/>
    <dgm:cxn modelId="{DA48B384-1233-4446-9357-850A369275EF}" type="presOf" srcId="{5F13E31A-837D-4DBC-A7F1-57F4AF2A23A6}" destId="{DA6BBA0C-09F5-4675-A738-FE9A0CEB30CD}" srcOrd="0" destOrd="0" presId="urn:microsoft.com/office/officeart/2005/8/layout/vList2"/>
    <dgm:cxn modelId="{3D014D8A-BC04-4DE0-833C-E5488A655CC5}" srcId="{0C01CF6A-4B74-473D-80C1-942CDC4F5BA3}" destId="{A55AC925-6719-4878-A42F-B342465F394F}" srcOrd="2" destOrd="0" parTransId="{24DB5117-3B01-46C3-BBAB-C93697140949}" sibTransId="{0A8CBF16-BB35-46EB-90FB-04BEAD8003A3}"/>
    <dgm:cxn modelId="{6EE6D891-51C2-4BC0-9D53-DAE3953FE703}" type="presOf" srcId="{EFB7A9B3-2E43-4769-B5C7-BD3EC0CCED5C}" destId="{2B643849-C3A4-4D57-AFC5-FDB562633774}" srcOrd="0" destOrd="1" presId="urn:microsoft.com/office/officeart/2005/8/layout/vList2"/>
    <dgm:cxn modelId="{B13C4A96-1F0A-4BEB-8F1F-23C15BFF625F}" type="presOf" srcId="{77A64978-D002-424E-8891-65AED2CACFBA}" destId="{09C1704E-8A91-4004-A9EF-9DE5E9590D49}" srcOrd="0" destOrd="0" presId="urn:microsoft.com/office/officeart/2005/8/layout/vList2"/>
    <dgm:cxn modelId="{0341D399-C6D1-4A0D-BFE6-EA904BBA2D75}" srcId="{AD7390CE-DCCD-42A9-B68F-D3A9026C4A5D}" destId="{77A64978-D002-424E-8891-65AED2CACFBA}" srcOrd="0" destOrd="0" parTransId="{CB099AB6-DA02-4E2F-9558-71DF0615902E}" sibTransId="{904190DB-2163-4241-8F28-A7DB2F20920B}"/>
    <dgm:cxn modelId="{F6A172C4-5417-4369-A925-56A484FC2908}" type="presOf" srcId="{9612AA8C-9A0D-4768-B05E-5DAE367F81D0}" destId="{2B643849-C3A4-4D57-AFC5-FDB562633774}" srcOrd="0" destOrd="0" presId="urn:microsoft.com/office/officeart/2005/8/layout/vList2"/>
    <dgm:cxn modelId="{297615D4-0B46-409D-81CD-1CD5176DC5E3}" srcId="{AD7390CE-DCCD-42A9-B68F-D3A9026C4A5D}" destId="{0C01CF6A-4B74-473D-80C1-942CDC4F5BA3}" srcOrd="1" destOrd="0" parTransId="{894204B9-3E4F-4EDD-807B-9E3389CAE523}" sibTransId="{644CAAB9-8267-4553-9937-0B2C81095D8F}"/>
    <dgm:cxn modelId="{5B9E24DF-3BE3-4AD9-BB83-BBDA8F8F8589}" srcId="{0C01CF6A-4B74-473D-80C1-942CDC4F5BA3}" destId="{63E47220-FB03-4911-A0BA-4375B2E3314C}" srcOrd="0" destOrd="0" parTransId="{38B0319A-26B2-423B-A5A8-8D88B87B2269}" sibTransId="{B8C7F38B-C489-459C-BDC7-1BB3B6132B79}"/>
    <dgm:cxn modelId="{A99093E2-B862-4BE4-A3B0-6B198429E21D}" type="presOf" srcId="{F72FA56C-B504-43BD-9DBC-5EF9C7640854}" destId="{093ED6F2-1EF9-4726-8C0E-41F9B5E4B459}" srcOrd="0" destOrd="1" presId="urn:microsoft.com/office/officeart/2005/8/layout/vList2"/>
    <dgm:cxn modelId="{756E70E8-AB63-4B27-94E0-B0A63C402F9B}" type="presOf" srcId="{A55AC925-6719-4878-A42F-B342465F394F}" destId="{093ED6F2-1EF9-4726-8C0E-41F9B5E4B459}" srcOrd="0" destOrd="2" presId="urn:microsoft.com/office/officeart/2005/8/layout/vList2"/>
    <dgm:cxn modelId="{EBED9EA2-AF7E-418D-B80B-CDE87EA06CFF}" type="presParOf" srcId="{E5A598D0-53A7-418C-A854-766C1528BA0B}" destId="{09C1704E-8A91-4004-A9EF-9DE5E9590D49}" srcOrd="0" destOrd="0" presId="urn:microsoft.com/office/officeart/2005/8/layout/vList2"/>
    <dgm:cxn modelId="{C636B107-4DE5-47A8-8567-CED8C97909D4}" type="presParOf" srcId="{E5A598D0-53A7-418C-A854-766C1528BA0B}" destId="{2B643849-C3A4-4D57-AFC5-FDB562633774}" srcOrd="1" destOrd="0" presId="urn:microsoft.com/office/officeart/2005/8/layout/vList2"/>
    <dgm:cxn modelId="{6C9CB6E8-DCF0-42F4-AABD-6DBDE76F7208}" type="presParOf" srcId="{E5A598D0-53A7-418C-A854-766C1528BA0B}" destId="{9822599E-3FB3-4BFE-A81F-EC4092DEF0D5}" srcOrd="2" destOrd="0" presId="urn:microsoft.com/office/officeart/2005/8/layout/vList2"/>
    <dgm:cxn modelId="{56A6443E-576C-4C97-BF56-1A1A2D80DB8C}" type="presParOf" srcId="{E5A598D0-53A7-418C-A854-766C1528BA0B}" destId="{093ED6F2-1EF9-4726-8C0E-41F9B5E4B459}" srcOrd="3" destOrd="0" presId="urn:microsoft.com/office/officeart/2005/8/layout/vList2"/>
    <dgm:cxn modelId="{0D214410-F799-4CB9-87A5-6748D58CDE09}" type="presParOf" srcId="{E5A598D0-53A7-418C-A854-766C1528BA0B}" destId="{DA6BBA0C-09F5-4675-A738-FE9A0CEB30CD}" srcOrd="4" destOrd="0" presId="urn:microsoft.com/office/officeart/2005/8/layout/vList2"/>
    <dgm:cxn modelId="{841A67E6-62A7-4105-A1D0-A0492133FD38}" type="presParOf" srcId="{E5A598D0-53A7-418C-A854-766C1528BA0B}" destId="{E277AD59-A1A2-49ED-9B4C-2A08097AE352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89AA4958-207D-4D76-AFD2-4B7C45EC366E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852234DD-5E6D-4016-8526-3AB3979DD0FC}">
      <dgm:prSet custT="1"/>
      <dgm:spPr/>
      <dgm:t>
        <a:bodyPr/>
        <a:lstStyle/>
        <a:p>
          <a:pPr rtl="0"/>
          <a:r>
            <a:rPr lang="en-US" sz="2400"/>
            <a:t>Case submissions (PEMPix, EmergiQuiz, Case Reports)</a:t>
          </a:r>
          <a:endParaRPr lang="en-US" sz="2400" dirty="0"/>
        </a:p>
      </dgm:t>
    </dgm:pt>
    <dgm:pt modelId="{78E136CF-DAAB-4955-8DE2-13404E2501A4}" type="parTrans" cxnId="{696FD730-1DF7-41A7-BEE2-6F7D71E59D1A}">
      <dgm:prSet/>
      <dgm:spPr/>
      <dgm:t>
        <a:bodyPr/>
        <a:lstStyle/>
        <a:p>
          <a:endParaRPr lang="en-US" sz="2400"/>
        </a:p>
      </dgm:t>
    </dgm:pt>
    <dgm:pt modelId="{937ABB50-4388-44B6-83FC-917CB0BAEE84}" type="sibTrans" cxnId="{696FD730-1DF7-41A7-BEE2-6F7D71E59D1A}">
      <dgm:prSet/>
      <dgm:spPr/>
      <dgm:t>
        <a:bodyPr/>
        <a:lstStyle/>
        <a:p>
          <a:endParaRPr lang="en-US" sz="2400"/>
        </a:p>
      </dgm:t>
    </dgm:pt>
    <dgm:pt modelId="{FF0026DB-8B7B-4D0B-951B-161A605CA3CE}">
      <dgm:prSet custT="1"/>
      <dgm:spPr/>
      <dgm:t>
        <a:bodyPr/>
        <a:lstStyle/>
        <a:p>
          <a:pPr rtl="0"/>
          <a:r>
            <a:rPr lang="en-US" sz="2400" dirty="0"/>
            <a:t>Participation in National PEM Fellows’ Conference</a:t>
          </a:r>
        </a:p>
      </dgm:t>
    </dgm:pt>
    <dgm:pt modelId="{CA48BF72-CC70-463B-ABBC-89B5C9DF4244}" type="parTrans" cxnId="{EB2D9751-2E90-49B2-866D-3F14386C5A64}">
      <dgm:prSet/>
      <dgm:spPr/>
      <dgm:t>
        <a:bodyPr/>
        <a:lstStyle/>
        <a:p>
          <a:endParaRPr lang="en-US" sz="2400"/>
        </a:p>
      </dgm:t>
    </dgm:pt>
    <dgm:pt modelId="{EA07C251-B175-4C34-8093-E55A3F75917E}" type="sibTrans" cxnId="{EB2D9751-2E90-49B2-866D-3F14386C5A64}">
      <dgm:prSet/>
      <dgm:spPr/>
      <dgm:t>
        <a:bodyPr/>
        <a:lstStyle/>
        <a:p>
          <a:endParaRPr lang="en-US" sz="2400"/>
        </a:p>
      </dgm:t>
    </dgm:pt>
    <dgm:pt modelId="{04B60080-40F8-4C71-B12D-AB146C4FFCC6}">
      <dgm:prSet custT="1"/>
      <dgm:spPr/>
      <dgm:t>
        <a:bodyPr/>
        <a:lstStyle/>
        <a:p>
          <a:pPr rtl="0"/>
          <a:r>
            <a:rPr lang="en-US" sz="2400" dirty="0"/>
            <a:t>Feedback on presentations for conferences</a:t>
          </a:r>
        </a:p>
      </dgm:t>
    </dgm:pt>
    <dgm:pt modelId="{7E473E23-2CB0-443E-8088-0DF13EF3D2A0}" type="parTrans" cxnId="{A09B2950-A03E-4884-BB5E-C55DD665F7D2}">
      <dgm:prSet/>
      <dgm:spPr/>
      <dgm:t>
        <a:bodyPr/>
        <a:lstStyle/>
        <a:p>
          <a:endParaRPr lang="en-US" sz="2400"/>
        </a:p>
      </dgm:t>
    </dgm:pt>
    <dgm:pt modelId="{F1C36B37-8039-4D9B-8C94-E30821AD4F8E}" type="sibTrans" cxnId="{A09B2950-A03E-4884-BB5E-C55DD665F7D2}">
      <dgm:prSet/>
      <dgm:spPr/>
      <dgm:t>
        <a:bodyPr/>
        <a:lstStyle/>
        <a:p>
          <a:endParaRPr lang="en-US" sz="2400"/>
        </a:p>
      </dgm:t>
    </dgm:pt>
    <dgm:pt modelId="{0AA97A5D-AF37-4251-95B1-B8BB899784CC}">
      <dgm:prSet custT="1"/>
      <dgm:spPr/>
      <dgm:t>
        <a:bodyPr/>
        <a:lstStyle/>
        <a:p>
          <a:pPr rtl="0"/>
          <a:r>
            <a:rPr lang="en-US" sz="2400" dirty="0"/>
            <a:t>Career workshop in July </a:t>
          </a:r>
        </a:p>
      </dgm:t>
    </dgm:pt>
    <dgm:pt modelId="{2165E280-0CA7-46AA-9540-622FD9991DD8}" type="parTrans" cxnId="{092C4F9A-C610-428A-BA58-494A86829F26}">
      <dgm:prSet/>
      <dgm:spPr/>
      <dgm:t>
        <a:bodyPr/>
        <a:lstStyle/>
        <a:p>
          <a:endParaRPr lang="en-US" sz="2400"/>
        </a:p>
      </dgm:t>
    </dgm:pt>
    <dgm:pt modelId="{2D8FAA77-81FE-4990-A2C8-788197EE54D2}" type="sibTrans" cxnId="{092C4F9A-C610-428A-BA58-494A86829F26}">
      <dgm:prSet/>
      <dgm:spPr/>
      <dgm:t>
        <a:bodyPr/>
        <a:lstStyle/>
        <a:p>
          <a:endParaRPr lang="en-US" sz="2400"/>
        </a:p>
      </dgm:t>
    </dgm:pt>
    <dgm:pt modelId="{D82C4DEE-D79B-42B6-85B7-F4200F495DCC}">
      <dgm:prSet custT="1"/>
      <dgm:spPr/>
      <dgm:t>
        <a:bodyPr/>
        <a:lstStyle/>
        <a:p>
          <a:pPr rtl="0"/>
          <a:r>
            <a:rPr lang="en-US" sz="2400" dirty="0"/>
            <a:t>Final year career planning at orientation</a:t>
          </a:r>
        </a:p>
      </dgm:t>
    </dgm:pt>
    <dgm:pt modelId="{9C5BFCE9-633E-4F72-9882-3CA44FA99496}" type="parTrans" cxnId="{939517F7-CC40-427C-B50A-B9B5192CF659}">
      <dgm:prSet/>
      <dgm:spPr/>
      <dgm:t>
        <a:bodyPr/>
        <a:lstStyle/>
        <a:p>
          <a:endParaRPr lang="en-US" sz="2400"/>
        </a:p>
      </dgm:t>
    </dgm:pt>
    <dgm:pt modelId="{B1F40C8D-4B9F-4736-A382-BA52942DFC06}" type="sibTrans" cxnId="{939517F7-CC40-427C-B50A-B9B5192CF659}">
      <dgm:prSet/>
      <dgm:spPr/>
      <dgm:t>
        <a:bodyPr/>
        <a:lstStyle/>
        <a:p>
          <a:endParaRPr lang="en-US" sz="2400"/>
        </a:p>
      </dgm:t>
    </dgm:pt>
    <dgm:pt modelId="{F7F96E6B-4590-449B-9042-A12FCB104E68}">
      <dgm:prSet custT="1"/>
      <dgm:spPr/>
      <dgm:t>
        <a:bodyPr/>
        <a:lstStyle/>
        <a:p>
          <a:pPr rtl="0"/>
          <a:r>
            <a:rPr lang="en-US" sz="2400" dirty="0"/>
            <a:t>BCM Fellows’ Day abstract presentations</a:t>
          </a:r>
        </a:p>
      </dgm:t>
    </dgm:pt>
    <dgm:pt modelId="{85DE216F-07AC-449E-A549-11DE452460BD}" type="parTrans" cxnId="{469447C4-D66F-42E8-9E4C-C03D40769D71}">
      <dgm:prSet/>
      <dgm:spPr/>
      <dgm:t>
        <a:bodyPr/>
        <a:lstStyle/>
        <a:p>
          <a:endParaRPr lang="en-US"/>
        </a:p>
      </dgm:t>
    </dgm:pt>
    <dgm:pt modelId="{B1C941DA-1DB6-4994-A2F4-2E984FB7C051}" type="sibTrans" cxnId="{469447C4-D66F-42E8-9E4C-C03D40769D71}">
      <dgm:prSet/>
      <dgm:spPr/>
      <dgm:t>
        <a:bodyPr/>
        <a:lstStyle/>
        <a:p>
          <a:endParaRPr lang="en-US"/>
        </a:p>
      </dgm:t>
    </dgm:pt>
    <dgm:pt modelId="{8011A1A3-C704-42A8-B00C-70744E06A3C1}" type="pres">
      <dgm:prSet presAssocID="{89AA4958-207D-4D76-AFD2-4B7C45EC366E}" presName="linear" presStyleCnt="0">
        <dgm:presLayoutVars>
          <dgm:animLvl val="lvl"/>
          <dgm:resizeHandles val="exact"/>
        </dgm:presLayoutVars>
      </dgm:prSet>
      <dgm:spPr/>
    </dgm:pt>
    <dgm:pt modelId="{D28D7146-D160-4916-87CB-1A83A9CCC032}" type="pres">
      <dgm:prSet presAssocID="{852234DD-5E6D-4016-8526-3AB3979DD0FC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E0528A4B-D900-48F1-99D2-E5093ECDF952}" type="pres">
      <dgm:prSet presAssocID="{937ABB50-4388-44B6-83FC-917CB0BAEE84}" presName="spacer" presStyleCnt="0"/>
      <dgm:spPr/>
    </dgm:pt>
    <dgm:pt modelId="{FD8F9267-9750-46D0-9891-E21639305FA6}" type="pres">
      <dgm:prSet presAssocID="{FF0026DB-8B7B-4D0B-951B-161A605CA3CE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9BF5EB12-97D5-4CFA-ABFC-E1705961DFAC}" type="pres">
      <dgm:prSet presAssocID="{EA07C251-B175-4C34-8093-E55A3F75917E}" presName="spacer" presStyleCnt="0"/>
      <dgm:spPr/>
    </dgm:pt>
    <dgm:pt modelId="{166D956B-28F1-4BA4-A197-A795F6DBF3B9}" type="pres">
      <dgm:prSet presAssocID="{04B60080-40F8-4C71-B12D-AB146C4FFCC6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2E6D85E9-8C1B-4517-B240-70F970D9B14D}" type="pres">
      <dgm:prSet presAssocID="{F1C36B37-8039-4D9B-8C94-E30821AD4F8E}" presName="spacer" presStyleCnt="0"/>
      <dgm:spPr/>
    </dgm:pt>
    <dgm:pt modelId="{B7D45643-C2A2-4552-B136-1B281599E6E9}" type="pres">
      <dgm:prSet presAssocID="{0AA97A5D-AF37-4251-95B1-B8BB899784CC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452A9CA5-665C-472B-96F5-DFC823D496AB}" type="pres">
      <dgm:prSet presAssocID="{2D8FAA77-81FE-4990-A2C8-788197EE54D2}" presName="spacer" presStyleCnt="0"/>
      <dgm:spPr/>
    </dgm:pt>
    <dgm:pt modelId="{825CA27A-A66F-4F56-9C7B-2ADACF89EFC5}" type="pres">
      <dgm:prSet presAssocID="{D82C4DEE-D79B-42B6-85B7-F4200F495DCC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B28E4C9D-63EB-4DB9-A45A-732D7841F08B}" type="pres">
      <dgm:prSet presAssocID="{B1F40C8D-4B9F-4736-A382-BA52942DFC06}" presName="spacer" presStyleCnt="0"/>
      <dgm:spPr/>
    </dgm:pt>
    <dgm:pt modelId="{9E71F3CC-0E9E-4F7D-8C00-F6F123CC82BE}" type="pres">
      <dgm:prSet presAssocID="{F7F96E6B-4590-449B-9042-A12FCB104E68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7348CE0A-5DCB-4500-983E-5C9E5D776BA2}" type="presOf" srcId="{F7F96E6B-4590-449B-9042-A12FCB104E68}" destId="{9E71F3CC-0E9E-4F7D-8C00-F6F123CC82BE}" srcOrd="0" destOrd="0" presId="urn:microsoft.com/office/officeart/2005/8/layout/vList2"/>
    <dgm:cxn modelId="{D4E8A511-CE19-44B3-B77A-C1DF2AAF285B}" type="presOf" srcId="{04B60080-40F8-4C71-B12D-AB146C4FFCC6}" destId="{166D956B-28F1-4BA4-A197-A795F6DBF3B9}" srcOrd="0" destOrd="0" presId="urn:microsoft.com/office/officeart/2005/8/layout/vList2"/>
    <dgm:cxn modelId="{696FD730-1DF7-41A7-BEE2-6F7D71E59D1A}" srcId="{89AA4958-207D-4D76-AFD2-4B7C45EC366E}" destId="{852234DD-5E6D-4016-8526-3AB3979DD0FC}" srcOrd="0" destOrd="0" parTransId="{78E136CF-DAAB-4955-8DE2-13404E2501A4}" sibTransId="{937ABB50-4388-44B6-83FC-917CB0BAEE84}"/>
    <dgm:cxn modelId="{A09B2950-A03E-4884-BB5E-C55DD665F7D2}" srcId="{89AA4958-207D-4D76-AFD2-4B7C45EC366E}" destId="{04B60080-40F8-4C71-B12D-AB146C4FFCC6}" srcOrd="2" destOrd="0" parTransId="{7E473E23-2CB0-443E-8088-0DF13EF3D2A0}" sibTransId="{F1C36B37-8039-4D9B-8C94-E30821AD4F8E}"/>
    <dgm:cxn modelId="{EB2D9751-2E90-49B2-866D-3F14386C5A64}" srcId="{89AA4958-207D-4D76-AFD2-4B7C45EC366E}" destId="{FF0026DB-8B7B-4D0B-951B-161A605CA3CE}" srcOrd="1" destOrd="0" parTransId="{CA48BF72-CC70-463B-ABBC-89B5C9DF4244}" sibTransId="{EA07C251-B175-4C34-8093-E55A3F75917E}"/>
    <dgm:cxn modelId="{35E08B58-D3BF-404C-897A-98F2D28F031C}" type="presOf" srcId="{D82C4DEE-D79B-42B6-85B7-F4200F495DCC}" destId="{825CA27A-A66F-4F56-9C7B-2ADACF89EFC5}" srcOrd="0" destOrd="0" presId="urn:microsoft.com/office/officeart/2005/8/layout/vList2"/>
    <dgm:cxn modelId="{3C23895C-C9F1-4AE6-8476-AE0BB5791351}" type="presOf" srcId="{FF0026DB-8B7B-4D0B-951B-161A605CA3CE}" destId="{FD8F9267-9750-46D0-9891-E21639305FA6}" srcOrd="0" destOrd="0" presId="urn:microsoft.com/office/officeart/2005/8/layout/vList2"/>
    <dgm:cxn modelId="{092C4F9A-C610-428A-BA58-494A86829F26}" srcId="{89AA4958-207D-4D76-AFD2-4B7C45EC366E}" destId="{0AA97A5D-AF37-4251-95B1-B8BB899784CC}" srcOrd="3" destOrd="0" parTransId="{2165E280-0CA7-46AA-9540-622FD9991DD8}" sibTransId="{2D8FAA77-81FE-4990-A2C8-788197EE54D2}"/>
    <dgm:cxn modelId="{469447C4-D66F-42E8-9E4C-C03D40769D71}" srcId="{89AA4958-207D-4D76-AFD2-4B7C45EC366E}" destId="{F7F96E6B-4590-449B-9042-A12FCB104E68}" srcOrd="5" destOrd="0" parTransId="{85DE216F-07AC-449E-A549-11DE452460BD}" sibTransId="{B1C941DA-1DB6-4994-A2F4-2E984FB7C051}"/>
    <dgm:cxn modelId="{A7787CCA-ECB6-4DB6-9506-DEF2C4B695B8}" type="presOf" srcId="{0AA97A5D-AF37-4251-95B1-B8BB899784CC}" destId="{B7D45643-C2A2-4552-B136-1B281599E6E9}" srcOrd="0" destOrd="0" presId="urn:microsoft.com/office/officeart/2005/8/layout/vList2"/>
    <dgm:cxn modelId="{C6F272E9-C15A-450F-8228-B27CFF263FF6}" type="presOf" srcId="{89AA4958-207D-4D76-AFD2-4B7C45EC366E}" destId="{8011A1A3-C704-42A8-B00C-70744E06A3C1}" srcOrd="0" destOrd="0" presId="urn:microsoft.com/office/officeart/2005/8/layout/vList2"/>
    <dgm:cxn modelId="{939517F7-CC40-427C-B50A-B9B5192CF659}" srcId="{89AA4958-207D-4D76-AFD2-4B7C45EC366E}" destId="{D82C4DEE-D79B-42B6-85B7-F4200F495DCC}" srcOrd="4" destOrd="0" parTransId="{9C5BFCE9-633E-4F72-9882-3CA44FA99496}" sibTransId="{B1F40C8D-4B9F-4736-A382-BA52942DFC06}"/>
    <dgm:cxn modelId="{F6365BFB-BA57-40FB-957B-2E269557918A}" type="presOf" srcId="{852234DD-5E6D-4016-8526-3AB3979DD0FC}" destId="{D28D7146-D160-4916-87CB-1A83A9CCC032}" srcOrd="0" destOrd="0" presId="urn:microsoft.com/office/officeart/2005/8/layout/vList2"/>
    <dgm:cxn modelId="{D1404353-A472-45A9-8561-5CAB449D12C8}" type="presParOf" srcId="{8011A1A3-C704-42A8-B00C-70744E06A3C1}" destId="{D28D7146-D160-4916-87CB-1A83A9CCC032}" srcOrd="0" destOrd="0" presId="urn:microsoft.com/office/officeart/2005/8/layout/vList2"/>
    <dgm:cxn modelId="{91B71FB5-AF52-4941-B75D-105732DD2107}" type="presParOf" srcId="{8011A1A3-C704-42A8-B00C-70744E06A3C1}" destId="{E0528A4B-D900-48F1-99D2-E5093ECDF952}" srcOrd="1" destOrd="0" presId="urn:microsoft.com/office/officeart/2005/8/layout/vList2"/>
    <dgm:cxn modelId="{17482254-EF9D-4CFB-9BB7-69A5825140A2}" type="presParOf" srcId="{8011A1A3-C704-42A8-B00C-70744E06A3C1}" destId="{FD8F9267-9750-46D0-9891-E21639305FA6}" srcOrd="2" destOrd="0" presId="urn:microsoft.com/office/officeart/2005/8/layout/vList2"/>
    <dgm:cxn modelId="{CD6736BA-AB2E-47D5-A3F9-9E305BD07CFD}" type="presParOf" srcId="{8011A1A3-C704-42A8-B00C-70744E06A3C1}" destId="{9BF5EB12-97D5-4CFA-ABFC-E1705961DFAC}" srcOrd="3" destOrd="0" presId="urn:microsoft.com/office/officeart/2005/8/layout/vList2"/>
    <dgm:cxn modelId="{483676C6-FA33-4AC9-B1F3-A72445F04AC4}" type="presParOf" srcId="{8011A1A3-C704-42A8-B00C-70744E06A3C1}" destId="{166D956B-28F1-4BA4-A197-A795F6DBF3B9}" srcOrd="4" destOrd="0" presId="urn:microsoft.com/office/officeart/2005/8/layout/vList2"/>
    <dgm:cxn modelId="{FAD92EA1-5E11-4A21-A410-1EA71945DEE4}" type="presParOf" srcId="{8011A1A3-C704-42A8-B00C-70744E06A3C1}" destId="{2E6D85E9-8C1B-4517-B240-70F970D9B14D}" srcOrd="5" destOrd="0" presId="urn:microsoft.com/office/officeart/2005/8/layout/vList2"/>
    <dgm:cxn modelId="{56A4BC49-193A-4516-B076-E1E5FD1431DF}" type="presParOf" srcId="{8011A1A3-C704-42A8-B00C-70744E06A3C1}" destId="{B7D45643-C2A2-4552-B136-1B281599E6E9}" srcOrd="6" destOrd="0" presId="urn:microsoft.com/office/officeart/2005/8/layout/vList2"/>
    <dgm:cxn modelId="{B1CD8457-322E-47E5-B69E-2747CA3AC559}" type="presParOf" srcId="{8011A1A3-C704-42A8-B00C-70744E06A3C1}" destId="{452A9CA5-665C-472B-96F5-DFC823D496AB}" srcOrd="7" destOrd="0" presId="urn:microsoft.com/office/officeart/2005/8/layout/vList2"/>
    <dgm:cxn modelId="{F24A3F0B-81CF-41FD-B6C7-1918737FCAD7}" type="presParOf" srcId="{8011A1A3-C704-42A8-B00C-70744E06A3C1}" destId="{825CA27A-A66F-4F56-9C7B-2ADACF89EFC5}" srcOrd="8" destOrd="0" presId="urn:microsoft.com/office/officeart/2005/8/layout/vList2"/>
    <dgm:cxn modelId="{054FDC69-B516-411A-A995-41DAEAD9520D}" type="presParOf" srcId="{8011A1A3-C704-42A8-B00C-70744E06A3C1}" destId="{B28E4C9D-63EB-4DB9-A45A-732D7841F08B}" srcOrd="9" destOrd="0" presId="urn:microsoft.com/office/officeart/2005/8/layout/vList2"/>
    <dgm:cxn modelId="{0C91BF87-E195-443D-AA29-2528804B51C4}" type="presParOf" srcId="{8011A1A3-C704-42A8-B00C-70744E06A3C1}" destId="{9E71F3CC-0E9E-4F7D-8C00-F6F123CC82BE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32905111-27EB-464A-B387-A9BB87E8CAC5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48D5925-6DF5-4783-B2A1-CA81BB9367AC}">
      <dgm:prSet/>
      <dgm:spPr/>
      <dgm:t>
        <a:bodyPr/>
        <a:lstStyle/>
        <a:p>
          <a:pPr rtl="0"/>
          <a:r>
            <a:rPr lang="en-US"/>
            <a:t>Career dinners</a:t>
          </a:r>
          <a:endParaRPr lang="en-US" dirty="0"/>
        </a:p>
      </dgm:t>
    </dgm:pt>
    <dgm:pt modelId="{D595B0A1-8EF8-4B9D-BC91-C7C4600F37C7}" type="parTrans" cxnId="{20218D6B-A0B5-4895-A08E-3857A7735CAD}">
      <dgm:prSet/>
      <dgm:spPr/>
      <dgm:t>
        <a:bodyPr/>
        <a:lstStyle/>
        <a:p>
          <a:endParaRPr lang="en-US"/>
        </a:p>
      </dgm:t>
    </dgm:pt>
    <dgm:pt modelId="{60561ED9-5E8B-4AA2-9A31-58F3082F3AE3}" type="sibTrans" cxnId="{20218D6B-A0B5-4895-A08E-3857A7735CAD}">
      <dgm:prSet/>
      <dgm:spPr/>
      <dgm:t>
        <a:bodyPr/>
        <a:lstStyle/>
        <a:p>
          <a:endParaRPr lang="en-US"/>
        </a:p>
      </dgm:t>
    </dgm:pt>
    <dgm:pt modelId="{F8BF194F-9061-4768-8EB1-0FE0D7C7C56D}">
      <dgm:prSet/>
      <dgm:spPr/>
      <dgm:t>
        <a:bodyPr/>
        <a:lstStyle/>
        <a:p>
          <a:pPr rtl="0"/>
          <a:r>
            <a:rPr lang="en-US" dirty="0"/>
            <a:t>Advanced degrees (MPH, MBA, MEd, Master’s Clinical Research)</a:t>
          </a:r>
        </a:p>
      </dgm:t>
    </dgm:pt>
    <dgm:pt modelId="{8AE8A991-80DD-4659-AA66-BF7F680AFA9D}" type="parTrans" cxnId="{7167BA36-B823-4253-A6CE-00424AEB5F5D}">
      <dgm:prSet/>
      <dgm:spPr/>
      <dgm:t>
        <a:bodyPr/>
        <a:lstStyle/>
        <a:p>
          <a:endParaRPr lang="en-US"/>
        </a:p>
      </dgm:t>
    </dgm:pt>
    <dgm:pt modelId="{1AF96D32-3207-49B4-8491-BAA58EA2DFC3}" type="sibTrans" cxnId="{7167BA36-B823-4253-A6CE-00424AEB5F5D}">
      <dgm:prSet/>
      <dgm:spPr/>
      <dgm:t>
        <a:bodyPr/>
        <a:lstStyle/>
        <a:p>
          <a:endParaRPr lang="en-US"/>
        </a:p>
      </dgm:t>
    </dgm:pt>
    <dgm:pt modelId="{07C4395E-63D0-4094-BCBA-011058FE5E4E}">
      <dgm:prSet/>
      <dgm:spPr/>
      <dgm:t>
        <a:bodyPr/>
        <a:lstStyle/>
        <a:p>
          <a:pPr rtl="0"/>
          <a:r>
            <a:rPr lang="en-US"/>
            <a:t>Writing book chapters or review articles</a:t>
          </a:r>
        </a:p>
      </dgm:t>
    </dgm:pt>
    <dgm:pt modelId="{40DAD5DC-FB6B-404B-B41C-84642BCB31CE}" type="parTrans" cxnId="{D1AA0B23-ECE2-4BDF-B2BF-80DBD036D437}">
      <dgm:prSet/>
      <dgm:spPr/>
      <dgm:t>
        <a:bodyPr/>
        <a:lstStyle/>
        <a:p>
          <a:endParaRPr lang="en-US"/>
        </a:p>
      </dgm:t>
    </dgm:pt>
    <dgm:pt modelId="{3AF9379B-981E-4D04-BA35-9C6A7FD00D12}" type="sibTrans" cxnId="{D1AA0B23-ECE2-4BDF-B2BF-80DBD036D437}">
      <dgm:prSet/>
      <dgm:spPr/>
      <dgm:t>
        <a:bodyPr/>
        <a:lstStyle/>
        <a:p>
          <a:endParaRPr lang="en-US"/>
        </a:p>
      </dgm:t>
    </dgm:pt>
    <dgm:pt modelId="{6E026267-F29D-4984-8A88-B0565363C66E}">
      <dgm:prSet/>
      <dgm:spPr/>
      <dgm:t>
        <a:bodyPr/>
        <a:lstStyle/>
        <a:p>
          <a:pPr rtl="0"/>
          <a:r>
            <a:rPr lang="en-US" dirty="0"/>
            <a:t>Teaching residents, medical students, paramedics</a:t>
          </a:r>
        </a:p>
      </dgm:t>
    </dgm:pt>
    <dgm:pt modelId="{122D76DE-47A2-43DB-B109-EFCAB5B366F1}" type="parTrans" cxnId="{5943F171-E057-4B90-BB0F-8ABBD42CC0F2}">
      <dgm:prSet/>
      <dgm:spPr/>
      <dgm:t>
        <a:bodyPr/>
        <a:lstStyle/>
        <a:p>
          <a:endParaRPr lang="en-US"/>
        </a:p>
      </dgm:t>
    </dgm:pt>
    <dgm:pt modelId="{AC17E65D-6E3E-49E2-A15C-CE00EF5296E1}" type="sibTrans" cxnId="{5943F171-E057-4B90-BB0F-8ABBD42CC0F2}">
      <dgm:prSet/>
      <dgm:spPr/>
      <dgm:t>
        <a:bodyPr/>
        <a:lstStyle/>
        <a:p>
          <a:endParaRPr lang="en-US"/>
        </a:p>
      </dgm:t>
    </dgm:pt>
    <dgm:pt modelId="{0FC0F452-90E8-4D88-BC2F-860C67A9E6E9}">
      <dgm:prSet/>
      <dgm:spPr/>
      <dgm:t>
        <a:bodyPr/>
        <a:lstStyle/>
        <a:p>
          <a:pPr rtl="0"/>
          <a:r>
            <a:rPr lang="en-US"/>
            <a:t>Evidence-Based Medicine course</a:t>
          </a:r>
        </a:p>
      </dgm:t>
    </dgm:pt>
    <dgm:pt modelId="{A70E12D1-02CC-46F8-A397-25164A1D3CBB}" type="parTrans" cxnId="{ED716271-9C93-4208-A304-AE34463F82ED}">
      <dgm:prSet/>
      <dgm:spPr/>
      <dgm:t>
        <a:bodyPr/>
        <a:lstStyle/>
        <a:p>
          <a:endParaRPr lang="en-US"/>
        </a:p>
      </dgm:t>
    </dgm:pt>
    <dgm:pt modelId="{29E254D0-3BFD-451E-8694-85A3C1588CD2}" type="sibTrans" cxnId="{ED716271-9C93-4208-A304-AE34463F82ED}">
      <dgm:prSet/>
      <dgm:spPr/>
      <dgm:t>
        <a:bodyPr/>
        <a:lstStyle/>
        <a:p>
          <a:endParaRPr lang="en-US"/>
        </a:p>
      </dgm:t>
    </dgm:pt>
    <dgm:pt modelId="{0FBA3715-1C66-46A5-BB87-2D79EFE40B0C}">
      <dgm:prSet/>
      <dgm:spPr/>
      <dgm:t>
        <a:bodyPr/>
        <a:lstStyle/>
        <a:p>
          <a:pPr rtl="0"/>
          <a:r>
            <a:rPr lang="en-US"/>
            <a:t>Serving on section or hospital-wide committees</a:t>
          </a:r>
        </a:p>
      </dgm:t>
    </dgm:pt>
    <dgm:pt modelId="{F2E175A0-CBFE-44C2-AB64-B36980425227}" type="parTrans" cxnId="{DFCAD7C9-4186-4B9F-9565-021E6E6A74F3}">
      <dgm:prSet/>
      <dgm:spPr/>
      <dgm:t>
        <a:bodyPr/>
        <a:lstStyle/>
        <a:p>
          <a:endParaRPr lang="en-US"/>
        </a:p>
      </dgm:t>
    </dgm:pt>
    <dgm:pt modelId="{0B65CEAC-CB56-424B-B70B-A7AA11A87F58}" type="sibTrans" cxnId="{DFCAD7C9-4186-4B9F-9565-021E6E6A74F3}">
      <dgm:prSet/>
      <dgm:spPr/>
      <dgm:t>
        <a:bodyPr/>
        <a:lstStyle/>
        <a:p>
          <a:endParaRPr lang="en-US"/>
        </a:p>
      </dgm:t>
    </dgm:pt>
    <dgm:pt modelId="{D8CF116F-0140-4C32-BB4F-2F906937F708}" type="pres">
      <dgm:prSet presAssocID="{32905111-27EB-464A-B387-A9BB87E8CAC5}" presName="linear" presStyleCnt="0">
        <dgm:presLayoutVars>
          <dgm:animLvl val="lvl"/>
          <dgm:resizeHandles val="exact"/>
        </dgm:presLayoutVars>
      </dgm:prSet>
      <dgm:spPr/>
    </dgm:pt>
    <dgm:pt modelId="{8CBF44D9-BCA3-413D-B683-E6C3C2301365}" type="pres">
      <dgm:prSet presAssocID="{F48D5925-6DF5-4783-B2A1-CA81BB9367AC}" presName="parentText" presStyleLbl="node1" presStyleIdx="0" presStyleCnt="6" custLinFactNeighborX="-92" custLinFactNeighborY="-10320">
        <dgm:presLayoutVars>
          <dgm:chMax val="0"/>
          <dgm:bulletEnabled val="1"/>
        </dgm:presLayoutVars>
      </dgm:prSet>
      <dgm:spPr/>
    </dgm:pt>
    <dgm:pt modelId="{66336826-DFEC-475D-847E-D7B6F4501BC1}" type="pres">
      <dgm:prSet presAssocID="{60561ED9-5E8B-4AA2-9A31-58F3082F3AE3}" presName="spacer" presStyleCnt="0"/>
      <dgm:spPr/>
    </dgm:pt>
    <dgm:pt modelId="{D287154F-6C79-4E7E-AC70-168F53E81C55}" type="pres">
      <dgm:prSet presAssocID="{F8BF194F-9061-4768-8EB1-0FE0D7C7C56D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39E55FD7-5080-4AEE-82B6-D528E12DF3AE}" type="pres">
      <dgm:prSet presAssocID="{1AF96D32-3207-49B4-8491-BAA58EA2DFC3}" presName="spacer" presStyleCnt="0"/>
      <dgm:spPr/>
    </dgm:pt>
    <dgm:pt modelId="{0768FF04-4701-4739-A12A-A3FF6E41E56C}" type="pres">
      <dgm:prSet presAssocID="{07C4395E-63D0-4094-BCBA-011058FE5E4E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0AC65774-67B4-4E0A-9AEF-9E64F3F2DC16}" type="pres">
      <dgm:prSet presAssocID="{3AF9379B-981E-4D04-BA35-9C6A7FD00D12}" presName="spacer" presStyleCnt="0"/>
      <dgm:spPr/>
    </dgm:pt>
    <dgm:pt modelId="{0111AACE-1BE9-42C8-9BEB-EB46F0AF501E}" type="pres">
      <dgm:prSet presAssocID="{6E026267-F29D-4984-8A88-B0565363C66E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A86DC452-6872-41C0-9B15-31532A650257}" type="pres">
      <dgm:prSet presAssocID="{AC17E65D-6E3E-49E2-A15C-CE00EF5296E1}" presName="spacer" presStyleCnt="0"/>
      <dgm:spPr/>
    </dgm:pt>
    <dgm:pt modelId="{706BB23E-4713-4C60-986C-7ACC1299EB87}" type="pres">
      <dgm:prSet presAssocID="{0FC0F452-90E8-4D88-BC2F-860C67A9E6E9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76A488A0-9208-41AA-BA25-3984AD06A935}" type="pres">
      <dgm:prSet presAssocID="{29E254D0-3BFD-451E-8694-85A3C1588CD2}" presName="spacer" presStyleCnt="0"/>
      <dgm:spPr/>
    </dgm:pt>
    <dgm:pt modelId="{62C4D2EB-8469-47D3-8C8F-43EF254473A6}" type="pres">
      <dgm:prSet presAssocID="{0FBA3715-1C66-46A5-BB87-2D79EFE40B0C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DC671A12-8CA8-4E1E-BF8A-0717E4E99D16}" type="presOf" srcId="{F8BF194F-9061-4768-8EB1-0FE0D7C7C56D}" destId="{D287154F-6C79-4E7E-AC70-168F53E81C55}" srcOrd="0" destOrd="0" presId="urn:microsoft.com/office/officeart/2005/8/layout/vList2"/>
    <dgm:cxn modelId="{7965C01C-6232-4042-9C49-83196C9772E2}" type="presOf" srcId="{0FBA3715-1C66-46A5-BB87-2D79EFE40B0C}" destId="{62C4D2EB-8469-47D3-8C8F-43EF254473A6}" srcOrd="0" destOrd="0" presId="urn:microsoft.com/office/officeart/2005/8/layout/vList2"/>
    <dgm:cxn modelId="{D8544E22-BD7D-45BA-9107-8CA31652F347}" type="presOf" srcId="{0FC0F452-90E8-4D88-BC2F-860C67A9E6E9}" destId="{706BB23E-4713-4C60-986C-7ACC1299EB87}" srcOrd="0" destOrd="0" presId="urn:microsoft.com/office/officeart/2005/8/layout/vList2"/>
    <dgm:cxn modelId="{D1AA0B23-ECE2-4BDF-B2BF-80DBD036D437}" srcId="{32905111-27EB-464A-B387-A9BB87E8CAC5}" destId="{07C4395E-63D0-4094-BCBA-011058FE5E4E}" srcOrd="2" destOrd="0" parTransId="{40DAD5DC-FB6B-404B-B41C-84642BCB31CE}" sibTransId="{3AF9379B-981E-4D04-BA35-9C6A7FD00D12}"/>
    <dgm:cxn modelId="{92E21A25-4B93-4F73-923A-C2D09B53DEA9}" type="presOf" srcId="{F48D5925-6DF5-4783-B2A1-CA81BB9367AC}" destId="{8CBF44D9-BCA3-413D-B683-E6C3C2301365}" srcOrd="0" destOrd="0" presId="urn:microsoft.com/office/officeart/2005/8/layout/vList2"/>
    <dgm:cxn modelId="{7167BA36-B823-4253-A6CE-00424AEB5F5D}" srcId="{32905111-27EB-464A-B387-A9BB87E8CAC5}" destId="{F8BF194F-9061-4768-8EB1-0FE0D7C7C56D}" srcOrd="1" destOrd="0" parTransId="{8AE8A991-80DD-4659-AA66-BF7F680AFA9D}" sibTransId="{1AF96D32-3207-49B4-8491-BAA58EA2DFC3}"/>
    <dgm:cxn modelId="{20218D6B-A0B5-4895-A08E-3857A7735CAD}" srcId="{32905111-27EB-464A-B387-A9BB87E8CAC5}" destId="{F48D5925-6DF5-4783-B2A1-CA81BB9367AC}" srcOrd="0" destOrd="0" parTransId="{D595B0A1-8EF8-4B9D-BC91-C7C4600F37C7}" sibTransId="{60561ED9-5E8B-4AA2-9A31-58F3082F3AE3}"/>
    <dgm:cxn modelId="{ED716271-9C93-4208-A304-AE34463F82ED}" srcId="{32905111-27EB-464A-B387-A9BB87E8CAC5}" destId="{0FC0F452-90E8-4D88-BC2F-860C67A9E6E9}" srcOrd="4" destOrd="0" parTransId="{A70E12D1-02CC-46F8-A397-25164A1D3CBB}" sibTransId="{29E254D0-3BFD-451E-8694-85A3C1588CD2}"/>
    <dgm:cxn modelId="{5943F171-E057-4B90-BB0F-8ABBD42CC0F2}" srcId="{32905111-27EB-464A-B387-A9BB87E8CAC5}" destId="{6E026267-F29D-4984-8A88-B0565363C66E}" srcOrd="3" destOrd="0" parTransId="{122D76DE-47A2-43DB-B109-EFCAB5B366F1}" sibTransId="{AC17E65D-6E3E-49E2-A15C-CE00EF5296E1}"/>
    <dgm:cxn modelId="{7341FB93-E047-453D-88EE-015F071A179C}" type="presOf" srcId="{07C4395E-63D0-4094-BCBA-011058FE5E4E}" destId="{0768FF04-4701-4739-A12A-A3FF6E41E56C}" srcOrd="0" destOrd="0" presId="urn:microsoft.com/office/officeart/2005/8/layout/vList2"/>
    <dgm:cxn modelId="{DFCAD7C9-4186-4B9F-9565-021E6E6A74F3}" srcId="{32905111-27EB-464A-B387-A9BB87E8CAC5}" destId="{0FBA3715-1C66-46A5-BB87-2D79EFE40B0C}" srcOrd="5" destOrd="0" parTransId="{F2E175A0-CBFE-44C2-AB64-B36980425227}" sibTransId="{0B65CEAC-CB56-424B-B70B-A7AA11A87F58}"/>
    <dgm:cxn modelId="{1FE339E8-462A-45E4-A060-7EE0F5FB8678}" type="presOf" srcId="{32905111-27EB-464A-B387-A9BB87E8CAC5}" destId="{D8CF116F-0140-4C32-BB4F-2F906937F708}" srcOrd="0" destOrd="0" presId="urn:microsoft.com/office/officeart/2005/8/layout/vList2"/>
    <dgm:cxn modelId="{C3A155F7-3111-4E65-AF06-2153E9AF81EB}" type="presOf" srcId="{6E026267-F29D-4984-8A88-B0565363C66E}" destId="{0111AACE-1BE9-42C8-9BEB-EB46F0AF501E}" srcOrd="0" destOrd="0" presId="urn:microsoft.com/office/officeart/2005/8/layout/vList2"/>
    <dgm:cxn modelId="{73F0EA74-818D-46EA-A06D-657E51EF24B8}" type="presParOf" srcId="{D8CF116F-0140-4C32-BB4F-2F906937F708}" destId="{8CBF44D9-BCA3-413D-B683-E6C3C2301365}" srcOrd="0" destOrd="0" presId="urn:microsoft.com/office/officeart/2005/8/layout/vList2"/>
    <dgm:cxn modelId="{35B586E7-BAED-4E84-85A2-5E5828EFF023}" type="presParOf" srcId="{D8CF116F-0140-4C32-BB4F-2F906937F708}" destId="{66336826-DFEC-475D-847E-D7B6F4501BC1}" srcOrd="1" destOrd="0" presId="urn:microsoft.com/office/officeart/2005/8/layout/vList2"/>
    <dgm:cxn modelId="{CC9227C1-46C8-4E9A-B930-ADCBCC483658}" type="presParOf" srcId="{D8CF116F-0140-4C32-BB4F-2F906937F708}" destId="{D287154F-6C79-4E7E-AC70-168F53E81C55}" srcOrd="2" destOrd="0" presId="urn:microsoft.com/office/officeart/2005/8/layout/vList2"/>
    <dgm:cxn modelId="{7535A860-2BF0-4313-8737-A5ACDD44B25A}" type="presParOf" srcId="{D8CF116F-0140-4C32-BB4F-2F906937F708}" destId="{39E55FD7-5080-4AEE-82B6-D528E12DF3AE}" srcOrd="3" destOrd="0" presId="urn:microsoft.com/office/officeart/2005/8/layout/vList2"/>
    <dgm:cxn modelId="{980887A2-E8F3-44FD-A112-E26FD1412F4F}" type="presParOf" srcId="{D8CF116F-0140-4C32-BB4F-2F906937F708}" destId="{0768FF04-4701-4739-A12A-A3FF6E41E56C}" srcOrd="4" destOrd="0" presId="urn:microsoft.com/office/officeart/2005/8/layout/vList2"/>
    <dgm:cxn modelId="{C9D41863-D1CE-4BF4-B63F-C18BBC84F35E}" type="presParOf" srcId="{D8CF116F-0140-4C32-BB4F-2F906937F708}" destId="{0AC65774-67B4-4E0A-9AEF-9E64F3F2DC16}" srcOrd="5" destOrd="0" presId="urn:microsoft.com/office/officeart/2005/8/layout/vList2"/>
    <dgm:cxn modelId="{6BFE129C-9A80-4A73-8886-1A7FA00C5CF5}" type="presParOf" srcId="{D8CF116F-0140-4C32-BB4F-2F906937F708}" destId="{0111AACE-1BE9-42C8-9BEB-EB46F0AF501E}" srcOrd="6" destOrd="0" presId="urn:microsoft.com/office/officeart/2005/8/layout/vList2"/>
    <dgm:cxn modelId="{E3794F51-6C1F-43A3-B88C-11E33D640A97}" type="presParOf" srcId="{D8CF116F-0140-4C32-BB4F-2F906937F708}" destId="{A86DC452-6872-41C0-9B15-31532A650257}" srcOrd="7" destOrd="0" presId="urn:microsoft.com/office/officeart/2005/8/layout/vList2"/>
    <dgm:cxn modelId="{C8E95962-C6FB-4837-9F14-4342EF5A0BE2}" type="presParOf" srcId="{D8CF116F-0140-4C32-BB4F-2F906937F708}" destId="{706BB23E-4713-4C60-986C-7ACC1299EB87}" srcOrd="8" destOrd="0" presId="urn:microsoft.com/office/officeart/2005/8/layout/vList2"/>
    <dgm:cxn modelId="{C31054ED-BF91-44CD-9E8F-CDB75BAA5ADD}" type="presParOf" srcId="{D8CF116F-0140-4C32-BB4F-2F906937F708}" destId="{76A488A0-9208-41AA-BA25-3984AD06A935}" srcOrd="9" destOrd="0" presId="urn:microsoft.com/office/officeart/2005/8/layout/vList2"/>
    <dgm:cxn modelId="{F91DECB5-4263-4D47-8A36-7E8AE577F725}" type="presParOf" srcId="{D8CF116F-0140-4C32-BB4F-2F906937F708}" destId="{62C4D2EB-8469-47D3-8C8F-43EF254473A6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92D07FBD-499B-4169-8308-CAFAFC651766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55C4F39C-8D71-4FA7-AE28-363EEECE289A}">
      <dgm:prSet/>
      <dgm:spPr/>
      <dgm:t>
        <a:bodyPr/>
        <a:lstStyle/>
        <a:p>
          <a:pPr rtl="0"/>
          <a:r>
            <a:rPr lang="en-US"/>
            <a:t>Research Chief</a:t>
          </a:r>
          <a:endParaRPr lang="en-US" dirty="0"/>
        </a:p>
      </dgm:t>
    </dgm:pt>
    <dgm:pt modelId="{CF581CE7-DE9C-4696-B06E-21F5D03055E4}" type="parTrans" cxnId="{15820A1D-58F3-480C-8E21-198CF6AB6F1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5037519-4ED9-4971-9E61-F42744F9B1D4}" type="sibTrans" cxnId="{15820A1D-58F3-480C-8E21-198CF6AB6F1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DAE6EAC-7C72-4093-96A5-BCC35D9EE2AD}">
      <dgm:prSet/>
      <dgm:spPr/>
      <dgm:t>
        <a:bodyPr/>
        <a:lstStyle/>
        <a:p>
          <a:pPr rtl="0"/>
          <a:r>
            <a:rPr lang="en-US"/>
            <a:t>Directors of Research Education </a:t>
          </a:r>
          <a:endParaRPr lang="en-US" dirty="0"/>
        </a:p>
      </dgm:t>
    </dgm:pt>
    <dgm:pt modelId="{09AB91A5-20BD-4BB1-B5F5-98892C13F246}" type="parTrans" cxnId="{760BC70F-639A-43E6-84C4-8AB0A661780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FAB11297-6834-46FA-9FED-BAA3A68F619E}" type="sibTrans" cxnId="{760BC70F-639A-43E6-84C4-8AB0A661780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EFE2F57A-3F84-44BF-AEEF-7BE9051A4F51}">
      <dgm:prSet/>
      <dgm:spPr/>
      <dgm:t>
        <a:bodyPr/>
        <a:lstStyle/>
        <a:p>
          <a:pPr rtl="0"/>
          <a:r>
            <a:rPr lang="en-US"/>
            <a:t>Research Coordinators</a:t>
          </a:r>
        </a:p>
      </dgm:t>
    </dgm:pt>
    <dgm:pt modelId="{2CD79216-480A-4355-A60D-39F231BE7699}" type="parTrans" cxnId="{254D7873-E707-44C0-ADDA-06A4A325AE8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DC898E8-E6A2-4F89-91D9-5674FFC62A25}" type="sibTrans" cxnId="{254D7873-E707-44C0-ADDA-06A4A325AE8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A75E1AD-605F-4735-8A87-F2C0D179F64E}">
      <dgm:prSet/>
      <dgm:spPr/>
      <dgm:t>
        <a:bodyPr/>
        <a:lstStyle/>
        <a:p>
          <a:pPr rtl="0"/>
          <a:r>
            <a:rPr lang="en-US"/>
            <a:t>Research Assistants</a:t>
          </a:r>
        </a:p>
      </dgm:t>
    </dgm:pt>
    <dgm:pt modelId="{3A9EE1BC-B401-4BF7-8909-4AD3D629C9A7}" type="parTrans" cxnId="{F05CCF26-C252-4C41-92C3-1626B8BD480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7C61955-AAD9-4A32-AEDA-32A6DA5A68AF}" type="sibTrans" cxnId="{F05CCF26-C252-4C41-92C3-1626B8BD480D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25541BE-7407-49FB-BFC8-CE400FD7CC89}">
      <dgm:prSet/>
      <dgm:spPr/>
      <dgm:t>
        <a:bodyPr/>
        <a:lstStyle/>
        <a:p>
          <a:pPr rtl="0"/>
          <a:r>
            <a:rPr lang="en-US"/>
            <a:t>Academic Associates </a:t>
          </a:r>
          <a:endParaRPr lang="en-US" dirty="0"/>
        </a:p>
      </dgm:t>
    </dgm:pt>
    <dgm:pt modelId="{B606913B-45FB-44EE-9CE4-8839B8D2CAD1}" type="parTrans" cxnId="{AB772A0B-C52C-4B88-9F89-EB7B7E5A0FD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656A459-1DB3-47F8-BECE-013718DA2444}" type="sibTrans" cxnId="{AB772A0B-C52C-4B88-9F89-EB7B7E5A0FD1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F25C994-7184-411F-8613-C5C1944D0653}">
      <dgm:prSet/>
      <dgm:spPr/>
      <dgm:t>
        <a:bodyPr/>
        <a:lstStyle/>
        <a:p>
          <a:pPr rtl="0"/>
          <a:r>
            <a:rPr lang="en-US"/>
            <a:t>PEM Section Support Staff</a:t>
          </a:r>
          <a:endParaRPr lang="en-US" dirty="0"/>
        </a:p>
      </dgm:t>
    </dgm:pt>
    <dgm:pt modelId="{339B0581-FCA9-4D2F-B0E6-4B6F64990969}" type="parTrans" cxnId="{0954D1EF-9A37-4B1A-9955-5222A16F21E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0FA3404-1B5E-4BEC-8E21-EB0B79344C66}" type="sibTrans" cxnId="{0954D1EF-9A37-4B1A-9955-5222A16F21E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E376D51-C2FB-4360-93C8-01669095C35F}">
      <dgm:prSet/>
      <dgm:spPr/>
      <dgm:t>
        <a:bodyPr/>
        <a:lstStyle/>
        <a:p>
          <a:pPr rtl="0"/>
          <a:r>
            <a:rPr lang="en-US"/>
            <a:t>Epidemiologist and database manager</a:t>
          </a:r>
          <a:endParaRPr lang="en-US" dirty="0"/>
        </a:p>
      </dgm:t>
    </dgm:pt>
    <dgm:pt modelId="{6B2CE129-250F-4D43-B26F-52AC777F9BBC}" type="parTrans" cxnId="{14FF05D4-F112-4B4E-8E24-A46F5AC5FD0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AD194E1-7012-45EB-AF9B-6716C1D3C6A1}" type="sibTrans" cxnId="{14FF05D4-F112-4B4E-8E24-A46F5AC5FD03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5ACC98B-B8E3-498E-91CA-C6F8AE8B312E}">
      <dgm:prSet/>
      <dgm:spPr/>
      <dgm:t>
        <a:bodyPr/>
        <a:lstStyle/>
        <a:p>
          <a:pPr rtl="0"/>
          <a:r>
            <a:rPr lang="en-US"/>
            <a:t>Biostatistician</a:t>
          </a:r>
          <a:endParaRPr lang="en-US" dirty="0"/>
        </a:p>
      </dgm:t>
    </dgm:pt>
    <dgm:pt modelId="{0901A295-614C-4509-A207-EF1D04CE98F7}" type="parTrans" cxnId="{976DA189-A6A8-4D4D-A9A9-BC5B53A8635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0EB0983-67D2-4A7A-B732-D48429015354}" type="sibTrans" cxnId="{976DA189-A6A8-4D4D-A9A9-BC5B53A8635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19810C7-0A02-4A32-A2F9-643DF66799D8}">
      <dgm:prSet/>
      <dgm:spPr/>
      <dgm:t>
        <a:bodyPr/>
        <a:lstStyle/>
        <a:p>
          <a:pPr rtl="0"/>
          <a:r>
            <a:rPr lang="en-US"/>
            <a:t>Accountant</a:t>
          </a:r>
          <a:endParaRPr lang="en-US" dirty="0"/>
        </a:p>
      </dgm:t>
    </dgm:pt>
    <dgm:pt modelId="{5125090F-3F3D-43AA-B799-728C3DF06ADA}" type="parTrans" cxnId="{C1B09A9B-48DF-4AEC-A6E9-62069264FBB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850FD1E-C8C7-45DD-93C1-A29A29CA9A7B}" type="sibTrans" cxnId="{C1B09A9B-48DF-4AEC-A6E9-62069264FBB8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25CD5D5-048A-47F0-91A8-484E76B47FDE}" type="pres">
      <dgm:prSet presAssocID="{92D07FBD-499B-4169-8308-CAFAFC651766}" presName="linear" presStyleCnt="0">
        <dgm:presLayoutVars>
          <dgm:animLvl val="lvl"/>
          <dgm:resizeHandles val="exact"/>
        </dgm:presLayoutVars>
      </dgm:prSet>
      <dgm:spPr/>
    </dgm:pt>
    <dgm:pt modelId="{1EEB2D2F-9819-43A3-B6EE-B50D57860E22}" type="pres">
      <dgm:prSet presAssocID="{55C4F39C-8D71-4FA7-AE28-363EEECE289A}" presName="parentText" presStyleLbl="node1" presStyleIdx="0" presStyleCnt="6" custLinFactNeighborX="-3225" custLinFactNeighborY="-75533">
        <dgm:presLayoutVars>
          <dgm:chMax val="0"/>
          <dgm:bulletEnabled val="1"/>
        </dgm:presLayoutVars>
      </dgm:prSet>
      <dgm:spPr/>
    </dgm:pt>
    <dgm:pt modelId="{BB7665E1-4CBE-436A-9FCC-5835D5A5ABFB}" type="pres">
      <dgm:prSet presAssocID="{B5037519-4ED9-4971-9E61-F42744F9B1D4}" presName="spacer" presStyleCnt="0"/>
      <dgm:spPr/>
    </dgm:pt>
    <dgm:pt modelId="{32329537-A183-49DE-8F64-216CA62A0C5A}" type="pres">
      <dgm:prSet presAssocID="{DDAE6EAC-7C72-4093-96A5-BCC35D9EE2AD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3D1C0AB5-037E-4442-BFE1-1A20CF09A889}" type="pres">
      <dgm:prSet presAssocID="{FAB11297-6834-46FA-9FED-BAA3A68F619E}" presName="spacer" presStyleCnt="0"/>
      <dgm:spPr/>
    </dgm:pt>
    <dgm:pt modelId="{B85313ED-B985-4410-8467-77FFF131EED4}" type="pres">
      <dgm:prSet presAssocID="{EFE2F57A-3F84-44BF-AEEF-7BE9051A4F51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0289A3C1-C7DE-4AD6-A862-3D0F6DFF2B7F}" type="pres">
      <dgm:prSet presAssocID="{1DC898E8-E6A2-4F89-91D9-5674FFC62A25}" presName="spacer" presStyleCnt="0"/>
      <dgm:spPr/>
    </dgm:pt>
    <dgm:pt modelId="{28D9AE33-A55E-45A4-9F31-9F648E2C373D}" type="pres">
      <dgm:prSet presAssocID="{9A75E1AD-605F-4735-8A87-F2C0D179F64E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EEBE74C7-7B2B-47E9-8732-425863D4E6B5}" type="pres">
      <dgm:prSet presAssocID="{67C61955-AAD9-4A32-AEDA-32A6DA5A68AF}" presName="spacer" presStyleCnt="0"/>
      <dgm:spPr/>
    </dgm:pt>
    <dgm:pt modelId="{CC540F81-3AB2-472A-92DF-1CC4F2B9D34A}" type="pres">
      <dgm:prSet presAssocID="{B25541BE-7407-49FB-BFC8-CE400FD7CC89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B62D70F2-8F41-45D5-8E25-496F2D895AF0}" type="pres">
      <dgm:prSet presAssocID="{7656A459-1DB3-47F8-BECE-013718DA2444}" presName="spacer" presStyleCnt="0"/>
      <dgm:spPr/>
    </dgm:pt>
    <dgm:pt modelId="{BE2C86A9-E4E0-4A12-A846-8E895E167DD8}" type="pres">
      <dgm:prSet presAssocID="{4F25C994-7184-411F-8613-C5C1944D0653}" presName="parentText" presStyleLbl="node1" presStyleIdx="5" presStyleCnt="6">
        <dgm:presLayoutVars>
          <dgm:chMax val="0"/>
          <dgm:bulletEnabled val="1"/>
        </dgm:presLayoutVars>
      </dgm:prSet>
      <dgm:spPr/>
    </dgm:pt>
    <dgm:pt modelId="{5CF12305-D046-4404-AA1C-3CA11D450DEA}" type="pres">
      <dgm:prSet presAssocID="{4F25C994-7184-411F-8613-C5C1944D0653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7088DE07-40A0-4FC5-B1A2-189BCABB0282}" type="presOf" srcId="{A5ACC98B-B8E3-498E-91CA-C6F8AE8B312E}" destId="{5CF12305-D046-4404-AA1C-3CA11D450DEA}" srcOrd="0" destOrd="1" presId="urn:microsoft.com/office/officeart/2005/8/layout/vList2"/>
    <dgm:cxn modelId="{AB772A0B-C52C-4B88-9F89-EB7B7E5A0FD1}" srcId="{92D07FBD-499B-4169-8308-CAFAFC651766}" destId="{B25541BE-7407-49FB-BFC8-CE400FD7CC89}" srcOrd="4" destOrd="0" parTransId="{B606913B-45FB-44EE-9CE4-8839B8D2CAD1}" sibTransId="{7656A459-1DB3-47F8-BECE-013718DA2444}"/>
    <dgm:cxn modelId="{760BC70F-639A-43E6-84C4-8AB0A6617808}" srcId="{92D07FBD-499B-4169-8308-CAFAFC651766}" destId="{DDAE6EAC-7C72-4093-96A5-BCC35D9EE2AD}" srcOrd="1" destOrd="0" parTransId="{09AB91A5-20BD-4BB1-B5F5-98892C13F246}" sibTransId="{FAB11297-6834-46FA-9FED-BAA3A68F619E}"/>
    <dgm:cxn modelId="{32FF7116-3175-4254-8D6E-873821B2A5F5}" type="presOf" srcId="{92D07FBD-499B-4169-8308-CAFAFC651766}" destId="{C25CD5D5-048A-47F0-91A8-484E76B47FDE}" srcOrd="0" destOrd="0" presId="urn:microsoft.com/office/officeart/2005/8/layout/vList2"/>
    <dgm:cxn modelId="{15820A1D-58F3-480C-8E21-198CF6AB6F11}" srcId="{92D07FBD-499B-4169-8308-CAFAFC651766}" destId="{55C4F39C-8D71-4FA7-AE28-363EEECE289A}" srcOrd="0" destOrd="0" parTransId="{CF581CE7-DE9C-4696-B06E-21F5D03055E4}" sibTransId="{B5037519-4ED9-4971-9E61-F42744F9B1D4}"/>
    <dgm:cxn modelId="{F05CCF26-C252-4C41-92C3-1626B8BD480D}" srcId="{92D07FBD-499B-4169-8308-CAFAFC651766}" destId="{9A75E1AD-605F-4735-8A87-F2C0D179F64E}" srcOrd="3" destOrd="0" parTransId="{3A9EE1BC-B401-4BF7-8909-4AD3D629C9A7}" sibTransId="{67C61955-AAD9-4A32-AEDA-32A6DA5A68AF}"/>
    <dgm:cxn modelId="{0DECF02D-98D7-44D9-AB8B-E4BC58150391}" type="presOf" srcId="{C19810C7-0A02-4A32-A2F9-643DF66799D8}" destId="{5CF12305-D046-4404-AA1C-3CA11D450DEA}" srcOrd="0" destOrd="2" presId="urn:microsoft.com/office/officeart/2005/8/layout/vList2"/>
    <dgm:cxn modelId="{4E084144-93C6-4745-8513-21B18A3B8032}" type="presOf" srcId="{9A75E1AD-605F-4735-8A87-F2C0D179F64E}" destId="{28D9AE33-A55E-45A4-9F31-9F648E2C373D}" srcOrd="0" destOrd="0" presId="urn:microsoft.com/office/officeart/2005/8/layout/vList2"/>
    <dgm:cxn modelId="{2EE2FC54-E4EF-4557-9D29-5ABE29083423}" type="presOf" srcId="{B25541BE-7407-49FB-BFC8-CE400FD7CC89}" destId="{CC540F81-3AB2-472A-92DF-1CC4F2B9D34A}" srcOrd="0" destOrd="0" presId="urn:microsoft.com/office/officeart/2005/8/layout/vList2"/>
    <dgm:cxn modelId="{6F5C565D-EC42-42DB-8754-D52A42562CE2}" type="presOf" srcId="{DDAE6EAC-7C72-4093-96A5-BCC35D9EE2AD}" destId="{32329537-A183-49DE-8F64-216CA62A0C5A}" srcOrd="0" destOrd="0" presId="urn:microsoft.com/office/officeart/2005/8/layout/vList2"/>
    <dgm:cxn modelId="{254D7873-E707-44C0-ADDA-06A4A325AE83}" srcId="{92D07FBD-499B-4169-8308-CAFAFC651766}" destId="{EFE2F57A-3F84-44BF-AEEF-7BE9051A4F51}" srcOrd="2" destOrd="0" parTransId="{2CD79216-480A-4355-A60D-39F231BE7699}" sibTransId="{1DC898E8-E6A2-4F89-91D9-5674FFC62A25}"/>
    <dgm:cxn modelId="{76163D88-9C80-4CF3-BD5F-A72E686DE6B8}" type="presOf" srcId="{CE376D51-C2FB-4360-93C8-01669095C35F}" destId="{5CF12305-D046-4404-AA1C-3CA11D450DEA}" srcOrd="0" destOrd="0" presId="urn:microsoft.com/office/officeart/2005/8/layout/vList2"/>
    <dgm:cxn modelId="{976DA189-A6A8-4D4D-A9A9-BC5B53A8635C}" srcId="{4F25C994-7184-411F-8613-C5C1944D0653}" destId="{A5ACC98B-B8E3-498E-91CA-C6F8AE8B312E}" srcOrd="1" destOrd="0" parTransId="{0901A295-614C-4509-A207-EF1D04CE98F7}" sibTransId="{A0EB0983-67D2-4A7A-B732-D48429015354}"/>
    <dgm:cxn modelId="{C1B09A9B-48DF-4AEC-A6E9-62069264FBB8}" srcId="{4F25C994-7184-411F-8613-C5C1944D0653}" destId="{C19810C7-0A02-4A32-A2F9-643DF66799D8}" srcOrd="2" destOrd="0" parTransId="{5125090F-3F3D-43AA-B799-728C3DF06ADA}" sibTransId="{0850FD1E-C8C7-45DD-93C1-A29A29CA9A7B}"/>
    <dgm:cxn modelId="{0B0B21B9-0846-4AD2-9CB6-AC8C6F3E6D78}" type="presOf" srcId="{55C4F39C-8D71-4FA7-AE28-363EEECE289A}" destId="{1EEB2D2F-9819-43A3-B6EE-B50D57860E22}" srcOrd="0" destOrd="0" presId="urn:microsoft.com/office/officeart/2005/8/layout/vList2"/>
    <dgm:cxn modelId="{57A71DCD-AE49-49AD-9454-C45D3E17C826}" type="presOf" srcId="{4F25C994-7184-411F-8613-C5C1944D0653}" destId="{BE2C86A9-E4E0-4A12-A846-8E895E167DD8}" srcOrd="0" destOrd="0" presId="urn:microsoft.com/office/officeart/2005/8/layout/vList2"/>
    <dgm:cxn modelId="{14FF05D4-F112-4B4E-8E24-A46F5AC5FD03}" srcId="{4F25C994-7184-411F-8613-C5C1944D0653}" destId="{CE376D51-C2FB-4360-93C8-01669095C35F}" srcOrd="0" destOrd="0" parTransId="{6B2CE129-250F-4D43-B26F-52AC777F9BBC}" sibTransId="{0AD194E1-7012-45EB-AF9B-6716C1D3C6A1}"/>
    <dgm:cxn modelId="{EF02E6EA-2D0C-481E-B94F-FCFFA5099D16}" type="presOf" srcId="{EFE2F57A-3F84-44BF-AEEF-7BE9051A4F51}" destId="{B85313ED-B985-4410-8467-77FFF131EED4}" srcOrd="0" destOrd="0" presId="urn:microsoft.com/office/officeart/2005/8/layout/vList2"/>
    <dgm:cxn modelId="{0954D1EF-9A37-4B1A-9955-5222A16F21E6}" srcId="{92D07FBD-499B-4169-8308-CAFAFC651766}" destId="{4F25C994-7184-411F-8613-C5C1944D0653}" srcOrd="5" destOrd="0" parTransId="{339B0581-FCA9-4D2F-B0E6-4B6F64990969}" sibTransId="{20FA3404-1B5E-4BEC-8E21-EB0B79344C66}"/>
    <dgm:cxn modelId="{594F242F-69B7-42AE-B335-5B46F271B0A1}" type="presParOf" srcId="{C25CD5D5-048A-47F0-91A8-484E76B47FDE}" destId="{1EEB2D2F-9819-43A3-B6EE-B50D57860E22}" srcOrd="0" destOrd="0" presId="urn:microsoft.com/office/officeart/2005/8/layout/vList2"/>
    <dgm:cxn modelId="{3E0D1D42-BD59-4440-8A4A-BE45E52E9C2E}" type="presParOf" srcId="{C25CD5D5-048A-47F0-91A8-484E76B47FDE}" destId="{BB7665E1-4CBE-436A-9FCC-5835D5A5ABFB}" srcOrd="1" destOrd="0" presId="urn:microsoft.com/office/officeart/2005/8/layout/vList2"/>
    <dgm:cxn modelId="{AD806306-D0EC-42B9-955A-CE4ABD2F0BC8}" type="presParOf" srcId="{C25CD5D5-048A-47F0-91A8-484E76B47FDE}" destId="{32329537-A183-49DE-8F64-216CA62A0C5A}" srcOrd="2" destOrd="0" presId="urn:microsoft.com/office/officeart/2005/8/layout/vList2"/>
    <dgm:cxn modelId="{42A3B83D-7ED8-4A90-8AB2-BD629A51CA2E}" type="presParOf" srcId="{C25CD5D5-048A-47F0-91A8-484E76B47FDE}" destId="{3D1C0AB5-037E-4442-BFE1-1A20CF09A889}" srcOrd="3" destOrd="0" presId="urn:microsoft.com/office/officeart/2005/8/layout/vList2"/>
    <dgm:cxn modelId="{B15842A0-8698-48F4-B8D6-7FB50D4E50FA}" type="presParOf" srcId="{C25CD5D5-048A-47F0-91A8-484E76B47FDE}" destId="{B85313ED-B985-4410-8467-77FFF131EED4}" srcOrd="4" destOrd="0" presId="urn:microsoft.com/office/officeart/2005/8/layout/vList2"/>
    <dgm:cxn modelId="{4F776659-8849-4947-9CC6-780BAB48D707}" type="presParOf" srcId="{C25CD5D5-048A-47F0-91A8-484E76B47FDE}" destId="{0289A3C1-C7DE-4AD6-A862-3D0F6DFF2B7F}" srcOrd="5" destOrd="0" presId="urn:microsoft.com/office/officeart/2005/8/layout/vList2"/>
    <dgm:cxn modelId="{B729E3E5-3E69-428D-B21C-85A54C1A1B0D}" type="presParOf" srcId="{C25CD5D5-048A-47F0-91A8-484E76B47FDE}" destId="{28D9AE33-A55E-45A4-9F31-9F648E2C373D}" srcOrd="6" destOrd="0" presId="urn:microsoft.com/office/officeart/2005/8/layout/vList2"/>
    <dgm:cxn modelId="{A1EEDD53-9F5C-4715-9379-9789B39EF491}" type="presParOf" srcId="{C25CD5D5-048A-47F0-91A8-484E76B47FDE}" destId="{EEBE74C7-7B2B-47E9-8732-425863D4E6B5}" srcOrd="7" destOrd="0" presId="urn:microsoft.com/office/officeart/2005/8/layout/vList2"/>
    <dgm:cxn modelId="{97F9D148-DF5E-4E77-B032-0A9974C22050}" type="presParOf" srcId="{C25CD5D5-048A-47F0-91A8-484E76B47FDE}" destId="{CC540F81-3AB2-472A-92DF-1CC4F2B9D34A}" srcOrd="8" destOrd="0" presId="urn:microsoft.com/office/officeart/2005/8/layout/vList2"/>
    <dgm:cxn modelId="{220A8BE0-BDF8-4A3E-B6C0-051245CA5AD8}" type="presParOf" srcId="{C25CD5D5-048A-47F0-91A8-484E76B47FDE}" destId="{B62D70F2-8F41-45D5-8E25-496F2D895AF0}" srcOrd="9" destOrd="0" presId="urn:microsoft.com/office/officeart/2005/8/layout/vList2"/>
    <dgm:cxn modelId="{1A7976DD-67EE-4C95-B787-96DC42831A4A}" type="presParOf" srcId="{C25CD5D5-048A-47F0-91A8-484E76B47FDE}" destId="{BE2C86A9-E4E0-4A12-A846-8E895E167DD8}" srcOrd="10" destOrd="0" presId="urn:microsoft.com/office/officeart/2005/8/layout/vList2"/>
    <dgm:cxn modelId="{65B1FEAC-3B0F-4B22-942A-C677AB208CA4}" type="presParOf" srcId="{C25CD5D5-048A-47F0-91A8-484E76B47FDE}" destId="{5CF12305-D046-4404-AA1C-3CA11D450DEA}" srcOrd="1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C84E3B35-A7B7-4A64-BABD-169E75F206A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F689B48-5F7D-447B-8CA8-17DA98F9368A}">
      <dgm:prSet/>
      <dgm:spPr/>
      <dgm:t>
        <a:bodyPr/>
        <a:lstStyle/>
        <a:p>
          <a:pPr rtl="0"/>
          <a:r>
            <a:rPr lang="en-US">
              <a:solidFill>
                <a:schemeClr val="bg1"/>
              </a:solidFill>
            </a:rPr>
            <a:t>National PEM research network, 18 sites</a:t>
          </a:r>
        </a:p>
      </dgm:t>
    </dgm:pt>
    <dgm:pt modelId="{F6BC8F1D-B9CF-4377-AEDE-E06E6BB77E9E}" type="parTrans" cxnId="{E7FCE6FB-8FCE-46BE-B6E5-452DA97FB7D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4125A8E0-8794-41C3-BE88-FB7F87BD312E}" type="sibTrans" cxnId="{E7FCE6FB-8FCE-46BE-B6E5-452DA97FB7D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4D23FDF-F705-4C14-82BD-89ACF12027A0}">
      <dgm:prSet/>
      <dgm:spPr/>
      <dgm:t>
        <a:bodyPr/>
        <a:lstStyle/>
        <a:p>
          <a:pPr rtl="0"/>
          <a:r>
            <a:rPr lang="en-US" dirty="0">
              <a:solidFill>
                <a:schemeClr val="bg1"/>
              </a:solidFill>
            </a:rPr>
            <a:t>TCH is a member site</a:t>
          </a:r>
        </a:p>
      </dgm:t>
    </dgm:pt>
    <dgm:pt modelId="{274F4FBC-4318-47C0-A7B7-C3F2656434BD}" type="parTrans" cxnId="{8CFF8A6B-5A1E-4C71-8B7D-BA711EB4CD4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45EDA4BA-538D-4710-862C-D279E2434704}" type="sibTrans" cxnId="{8CFF8A6B-5A1E-4C71-8B7D-BA711EB4CD4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8292AE1-3127-440A-910E-A3ED5773B84E}">
      <dgm:prSet/>
      <dgm:spPr/>
      <dgm:t>
        <a:bodyPr/>
        <a:lstStyle/>
        <a:p>
          <a:pPr rtl="0"/>
          <a:r>
            <a:rPr lang="en-US">
              <a:solidFill>
                <a:schemeClr val="bg1"/>
              </a:solidFill>
            </a:rPr>
            <a:t>Enables multicenter studies: </a:t>
          </a:r>
        </a:p>
      </dgm:t>
    </dgm:pt>
    <dgm:pt modelId="{EB102705-14E3-46DC-870A-558ADEB48AD0}" type="parTrans" cxnId="{050D5CE6-5A8D-41C3-8CF2-33A4081DCC2A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DD521A2-5391-41DD-8409-10AC90E90F75}" type="sibTrans" cxnId="{050D5CE6-5A8D-41C3-8CF2-33A4081DCC2A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9F9917B-92E2-49B9-A17A-6788556646DC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Decision rules for CTs after head injuries</a:t>
          </a:r>
        </a:p>
      </dgm:t>
    </dgm:pt>
    <dgm:pt modelId="{66235004-4CC4-486F-8547-6EA596046465}" type="parTrans" cxnId="{155081C6-ACCF-46BA-B598-2AAAB65C86F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37684D7D-83FF-4602-AE4E-7D635FF15B86}" type="sibTrans" cxnId="{155081C6-ACCF-46BA-B598-2AAAB65C86F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64463591-DFAF-4B6E-968A-5529E5AB5E39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Meningitis prediction rules</a:t>
          </a:r>
        </a:p>
      </dgm:t>
    </dgm:pt>
    <dgm:pt modelId="{8C333F41-5FC7-4672-A327-909BC8CE5DED}" type="parTrans" cxnId="{0324355D-43AE-4112-B958-6994C57636C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31305D5-C83C-4B72-8DD1-403311A0012C}" type="sibTrans" cxnId="{0324355D-43AE-4112-B958-6994C57636C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EA84271-E52A-4221-BFF2-861BF468643C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Multiple publications</a:t>
          </a:r>
        </a:p>
      </dgm:t>
    </dgm:pt>
    <dgm:pt modelId="{3BA98052-D5C3-42CB-A32F-D45E65D1FF2E}" type="parTrans" cxnId="{2E97EE3E-2422-4CD1-8878-E5A2881B325A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A47EA53-CB8C-435A-A319-472EE917EC62}" type="sibTrans" cxnId="{2E97EE3E-2422-4CD1-8878-E5A2881B325A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3E44549-90B2-48CD-A54E-36B80547B50D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DKA </a:t>
          </a:r>
        </a:p>
      </dgm:t>
    </dgm:pt>
    <dgm:pt modelId="{7229AE86-6053-4220-BCAB-51DBCA014DB6}" type="parTrans" cxnId="{782EE34D-0A61-4F7A-95A8-917F323711EE}">
      <dgm:prSet/>
      <dgm:spPr/>
    </dgm:pt>
    <dgm:pt modelId="{EBA6582F-B740-4A0D-B4D5-0DA79F46D854}" type="sibTrans" cxnId="{782EE34D-0A61-4F7A-95A8-917F323711EE}">
      <dgm:prSet/>
      <dgm:spPr/>
    </dgm:pt>
    <dgm:pt modelId="{BEC1E891-20BD-4561-A97A-32DBECDFC0D5}" type="pres">
      <dgm:prSet presAssocID="{C84E3B35-A7B7-4A64-BABD-169E75F206A7}" presName="linear" presStyleCnt="0">
        <dgm:presLayoutVars>
          <dgm:animLvl val="lvl"/>
          <dgm:resizeHandles val="exact"/>
        </dgm:presLayoutVars>
      </dgm:prSet>
      <dgm:spPr/>
    </dgm:pt>
    <dgm:pt modelId="{38F288C0-1D77-4747-B850-41D12269722D}" type="pres">
      <dgm:prSet presAssocID="{4F689B48-5F7D-447B-8CA8-17DA98F9368A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33FD8F20-4E53-402F-AD0A-CA3A0A6C1A7F}" type="pres">
      <dgm:prSet presAssocID="{4125A8E0-8794-41C3-BE88-FB7F87BD312E}" presName="spacer" presStyleCnt="0"/>
      <dgm:spPr/>
    </dgm:pt>
    <dgm:pt modelId="{8201ADFD-B4DF-4EEB-9BD4-C1A5033FF20E}" type="pres">
      <dgm:prSet presAssocID="{14D23FDF-F705-4C14-82BD-89ACF12027A0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CE4D3CF8-09C3-4473-AFF3-62FB3D1ED936}" type="pres">
      <dgm:prSet presAssocID="{45EDA4BA-538D-4710-862C-D279E2434704}" presName="spacer" presStyleCnt="0"/>
      <dgm:spPr/>
    </dgm:pt>
    <dgm:pt modelId="{D55AF1AA-8D6C-40BC-B3DD-E4F2204273BF}" type="pres">
      <dgm:prSet presAssocID="{B8292AE1-3127-440A-910E-A3ED5773B84E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D6E54AD2-8A58-49C8-8DFD-363EF5DF884C}" type="pres">
      <dgm:prSet presAssocID="{B8292AE1-3127-440A-910E-A3ED5773B84E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E9B33312-8C92-49AF-AE45-48BEA5C821F8}" type="presOf" srcId="{B8292AE1-3127-440A-910E-A3ED5773B84E}" destId="{D55AF1AA-8D6C-40BC-B3DD-E4F2204273BF}" srcOrd="0" destOrd="0" presId="urn:microsoft.com/office/officeart/2005/8/layout/vList2"/>
    <dgm:cxn modelId="{66C94B3B-87B4-4540-B0E0-89BAE2E3451A}" type="presOf" srcId="{D9F9917B-92E2-49B9-A17A-6788556646DC}" destId="{D6E54AD2-8A58-49C8-8DFD-363EF5DF884C}" srcOrd="0" destOrd="0" presId="urn:microsoft.com/office/officeart/2005/8/layout/vList2"/>
    <dgm:cxn modelId="{2E97EE3E-2422-4CD1-8878-E5A2881B325A}" srcId="{B8292AE1-3127-440A-910E-A3ED5773B84E}" destId="{2EA84271-E52A-4221-BFF2-861BF468643C}" srcOrd="3" destOrd="0" parTransId="{3BA98052-D5C3-42CB-A32F-D45E65D1FF2E}" sibTransId="{5A47EA53-CB8C-435A-A319-472EE917EC62}"/>
    <dgm:cxn modelId="{782EE34D-0A61-4F7A-95A8-917F323711EE}" srcId="{B8292AE1-3127-440A-910E-A3ED5773B84E}" destId="{A3E44549-90B2-48CD-A54E-36B80547B50D}" srcOrd="1" destOrd="0" parTransId="{7229AE86-6053-4220-BCAB-51DBCA014DB6}" sibTransId="{EBA6582F-B740-4A0D-B4D5-0DA79F46D854}"/>
    <dgm:cxn modelId="{6ADCAB59-746F-4B7D-B1D5-7CB4C704C3CD}" type="presOf" srcId="{4F689B48-5F7D-447B-8CA8-17DA98F9368A}" destId="{38F288C0-1D77-4747-B850-41D12269722D}" srcOrd="0" destOrd="0" presId="urn:microsoft.com/office/officeart/2005/8/layout/vList2"/>
    <dgm:cxn modelId="{0324355D-43AE-4112-B958-6994C57636C7}" srcId="{B8292AE1-3127-440A-910E-A3ED5773B84E}" destId="{64463591-DFAF-4B6E-968A-5529E5AB5E39}" srcOrd="2" destOrd="0" parTransId="{8C333F41-5FC7-4672-A327-909BC8CE5DED}" sibTransId="{B31305D5-C83C-4B72-8DD1-403311A0012C}"/>
    <dgm:cxn modelId="{8CFF8A6B-5A1E-4C71-8B7D-BA711EB4CD48}" srcId="{C84E3B35-A7B7-4A64-BABD-169E75F206A7}" destId="{14D23FDF-F705-4C14-82BD-89ACF12027A0}" srcOrd="1" destOrd="0" parTransId="{274F4FBC-4318-47C0-A7B7-C3F2656434BD}" sibTransId="{45EDA4BA-538D-4710-862C-D279E2434704}"/>
    <dgm:cxn modelId="{1AF7D66B-918A-4649-A2F7-9AF3A07FB03B}" type="presOf" srcId="{14D23FDF-F705-4C14-82BD-89ACF12027A0}" destId="{8201ADFD-B4DF-4EEB-9BD4-C1A5033FF20E}" srcOrd="0" destOrd="0" presId="urn:microsoft.com/office/officeart/2005/8/layout/vList2"/>
    <dgm:cxn modelId="{86253F87-759E-4EB0-A04B-5DFE3AE82372}" type="presOf" srcId="{C84E3B35-A7B7-4A64-BABD-169E75F206A7}" destId="{BEC1E891-20BD-4561-A97A-32DBECDFC0D5}" srcOrd="0" destOrd="0" presId="urn:microsoft.com/office/officeart/2005/8/layout/vList2"/>
    <dgm:cxn modelId="{4AF294B7-2928-4889-A103-C366141486C1}" type="presOf" srcId="{64463591-DFAF-4B6E-968A-5529E5AB5E39}" destId="{D6E54AD2-8A58-49C8-8DFD-363EF5DF884C}" srcOrd="0" destOrd="2" presId="urn:microsoft.com/office/officeart/2005/8/layout/vList2"/>
    <dgm:cxn modelId="{3E338ABB-512B-4BE8-8CC4-E1426E5B069A}" type="presOf" srcId="{2EA84271-E52A-4221-BFF2-861BF468643C}" destId="{D6E54AD2-8A58-49C8-8DFD-363EF5DF884C}" srcOrd="0" destOrd="3" presId="urn:microsoft.com/office/officeart/2005/8/layout/vList2"/>
    <dgm:cxn modelId="{155081C6-ACCF-46BA-B598-2AAAB65C86F7}" srcId="{B8292AE1-3127-440A-910E-A3ED5773B84E}" destId="{D9F9917B-92E2-49B9-A17A-6788556646DC}" srcOrd="0" destOrd="0" parTransId="{66235004-4CC4-486F-8547-6EA596046465}" sibTransId="{37684D7D-83FF-4602-AE4E-7D635FF15B86}"/>
    <dgm:cxn modelId="{050D5CE6-5A8D-41C3-8CF2-33A4081DCC2A}" srcId="{C84E3B35-A7B7-4A64-BABD-169E75F206A7}" destId="{B8292AE1-3127-440A-910E-A3ED5773B84E}" srcOrd="2" destOrd="0" parTransId="{EB102705-14E3-46DC-870A-558ADEB48AD0}" sibTransId="{1DD521A2-5391-41DD-8409-10AC90E90F75}"/>
    <dgm:cxn modelId="{480D80F9-46A8-4879-B162-3DFB83885BDB}" type="presOf" srcId="{A3E44549-90B2-48CD-A54E-36B80547B50D}" destId="{D6E54AD2-8A58-49C8-8DFD-363EF5DF884C}" srcOrd="0" destOrd="1" presId="urn:microsoft.com/office/officeart/2005/8/layout/vList2"/>
    <dgm:cxn modelId="{E7FCE6FB-8FCE-46BE-B6E5-452DA97FB7D2}" srcId="{C84E3B35-A7B7-4A64-BABD-169E75F206A7}" destId="{4F689B48-5F7D-447B-8CA8-17DA98F9368A}" srcOrd="0" destOrd="0" parTransId="{F6BC8F1D-B9CF-4377-AEDE-E06E6BB77E9E}" sibTransId="{4125A8E0-8794-41C3-BE88-FB7F87BD312E}"/>
    <dgm:cxn modelId="{01222113-709A-4505-9C3F-095387C11794}" type="presParOf" srcId="{BEC1E891-20BD-4561-A97A-32DBECDFC0D5}" destId="{38F288C0-1D77-4747-B850-41D12269722D}" srcOrd="0" destOrd="0" presId="urn:microsoft.com/office/officeart/2005/8/layout/vList2"/>
    <dgm:cxn modelId="{5814A60F-F1D5-414B-AA3F-2E10142EC1F0}" type="presParOf" srcId="{BEC1E891-20BD-4561-A97A-32DBECDFC0D5}" destId="{33FD8F20-4E53-402F-AD0A-CA3A0A6C1A7F}" srcOrd="1" destOrd="0" presId="urn:microsoft.com/office/officeart/2005/8/layout/vList2"/>
    <dgm:cxn modelId="{07245617-FBA7-4B15-A77A-BA66197B3D6C}" type="presParOf" srcId="{BEC1E891-20BD-4561-A97A-32DBECDFC0D5}" destId="{8201ADFD-B4DF-4EEB-9BD4-C1A5033FF20E}" srcOrd="2" destOrd="0" presId="urn:microsoft.com/office/officeart/2005/8/layout/vList2"/>
    <dgm:cxn modelId="{103D3491-E883-4707-904A-AD5F6EEB355B}" type="presParOf" srcId="{BEC1E891-20BD-4561-A97A-32DBECDFC0D5}" destId="{CE4D3CF8-09C3-4473-AFF3-62FB3D1ED936}" srcOrd="3" destOrd="0" presId="urn:microsoft.com/office/officeart/2005/8/layout/vList2"/>
    <dgm:cxn modelId="{85261D64-60EA-44EC-B926-F67B3FDA5D9F}" type="presParOf" srcId="{BEC1E891-20BD-4561-A97A-32DBECDFC0D5}" destId="{D55AF1AA-8D6C-40BC-B3DD-E4F2204273BF}" srcOrd="4" destOrd="0" presId="urn:microsoft.com/office/officeart/2005/8/layout/vList2"/>
    <dgm:cxn modelId="{E13BCCA0-A253-49B4-8535-05C944C78243}" type="presParOf" srcId="{BEC1E891-20BD-4561-A97A-32DBECDFC0D5}" destId="{D6E54AD2-8A58-49C8-8DFD-363EF5DF884C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E25C1D84-E31A-4AA9-9F7A-2B422D97E50D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841E65A-B1FA-4C71-AEA9-10B31100EDF5}">
      <dgm:prSet/>
      <dgm:spPr/>
      <dgm:t>
        <a:bodyPr/>
        <a:lstStyle/>
        <a:p>
          <a:pPr rtl="0" eaLnBrk="1" fontAlgn="base" hangingPunct="1">
            <a:buClrTx/>
            <a:buSzPts val="2800"/>
            <a:buFont typeface="Arial" panose="020B0604020202020204" pitchFamily="34" charset="0"/>
            <a:buNone/>
          </a:pPr>
          <a:r>
            <a:rPr lang="en-US"/>
            <a:t>Quality improvement projects: intubation, pain control in sickle cell patients, resuscitation/communication, appendicitis </a:t>
          </a:r>
          <a:endParaRPr lang="en-US" dirty="0"/>
        </a:p>
      </dgm:t>
    </dgm:pt>
    <dgm:pt modelId="{BA53A9CE-4BD3-444F-86E0-055F4E783318}" type="parTrans" cxnId="{A1F92A9F-477A-4B55-A93F-7BCB0691A156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3FD2D0FE-388B-4F8E-843D-7A3794F8203C}" type="sibTrans" cxnId="{A1F92A9F-477A-4B55-A93F-7BCB0691A156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718833A3-E609-4310-8BC7-62C5B2968B78}">
      <dgm:prSet/>
      <dgm:spPr/>
      <dgm:t>
        <a:bodyPr/>
        <a:lstStyle/>
        <a:p>
          <a:pPr rtl="0" eaLnBrk="1" fontAlgn="base" hangingPunct="1"/>
          <a:r>
            <a:rPr lang="en-US"/>
            <a:t>Educational projects: ultrasound, simulation, rubrics, bad news delivery, e-learning</a:t>
          </a:r>
          <a:endParaRPr lang="en-US" dirty="0"/>
        </a:p>
      </dgm:t>
    </dgm:pt>
    <dgm:pt modelId="{3688C5BD-297B-404D-8B00-D8972D5C0B60}" type="parTrans" cxnId="{854034E5-DCF3-4EBF-BBE9-B8392C39C9D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483DE8C-8477-4160-8A36-EB5276FE35CD}" type="sibTrans" cxnId="{854034E5-DCF3-4EBF-BBE9-B8392C39C9D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C984426F-AAAC-4D7C-A86C-5AD0AC75455A}">
      <dgm:prSet/>
      <dgm:spPr/>
      <dgm:t>
        <a:bodyPr/>
        <a:lstStyle/>
        <a:p>
          <a:pPr rtl="0" eaLnBrk="1" fontAlgn="base" hangingPunct="1"/>
          <a:r>
            <a:rPr lang="en-US"/>
            <a:t>Global health: triage, resuscitation, simulation</a:t>
          </a:r>
          <a:endParaRPr lang="en-US" dirty="0"/>
        </a:p>
      </dgm:t>
    </dgm:pt>
    <dgm:pt modelId="{548E7740-AAE9-47DE-885F-627B12E05DF8}" type="parTrans" cxnId="{4A798BB6-1522-4A07-9074-0CBB7910054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72E6FAB-FDB0-4F65-965F-8702F229CBEF}" type="sibTrans" cxnId="{4A798BB6-1522-4A07-9074-0CBB7910054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763F87A-A5C6-4EBD-ADF8-A80E0D3F3D9C}">
      <dgm:prSet/>
      <dgm:spPr/>
      <dgm:t>
        <a:bodyPr/>
        <a:lstStyle/>
        <a:p>
          <a:pPr rtl="0" eaLnBrk="1" fontAlgn="base" hangingPunct="1"/>
          <a:r>
            <a:rPr lang="en-US"/>
            <a:t>Trauma: trampoline injuries, cognitive impact of mild traumatic brain injury, abuse in the NICU</a:t>
          </a:r>
          <a:endParaRPr lang="en-US" dirty="0"/>
        </a:p>
      </dgm:t>
    </dgm:pt>
    <dgm:pt modelId="{0F1D6E25-BE38-41A1-AE77-73C91047DC61}" type="parTrans" cxnId="{1322222D-ACA2-4344-A1D9-2B943C6B203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EAE3CFB3-65FA-4595-BF17-6DA0D0CF0A64}" type="sibTrans" cxnId="{1322222D-ACA2-4344-A1D9-2B943C6B203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C54A54E-8AB6-4FEE-B9A3-1979517F6B8F}" type="pres">
      <dgm:prSet presAssocID="{E25C1D84-E31A-4AA9-9F7A-2B422D97E50D}" presName="linear" presStyleCnt="0">
        <dgm:presLayoutVars>
          <dgm:animLvl val="lvl"/>
          <dgm:resizeHandles val="exact"/>
        </dgm:presLayoutVars>
      </dgm:prSet>
      <dgm:spPr/>
    </dgm:pt>
    <dgm:pt modelId="{95566D0F-0BAC-4577-81D3-0A6DA301AC88}" type="pres">
      <dgm:prSet presAssocID="{7841E65A-B1FA-4C71-AEA9-10B31100EDF5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1ABF2533-A53F-4770-98D8-649B07325D67}" type="pres">
      <dgm:prSet presAssocID="{3FD2D0FE-388B-4F8E-843D-7A3794F8203C}" presName="spacer" presStyleCnt="0"/>
      <dgm:spPr/>
    </dgm:pt>
    <dgm:pt modelId="{F74EA0D2-4D6B-40C6-93F6-AF80E6B58CE9}" type="pres">
      <dgm:prSet presAssocID="{718833A3-E609-4310-8BC7-62C5B2968B78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3F0ACBE5-ECF6-468C-BC2B-9123E76DEDD9}" type="pres">
      <dgm:prSet presAssocID="{1483DE8C-8477-4160-8A36-EB5276FE35CD}" presName="spacer" presStyleCnt="0"/>
      <dgm:spPr/>
    </dgm:pt>
    <dgm:pt modelId="{98EAB03D-9BF1-425C-BD5B-359A0E80151B}" type="pres">
      <dgm:prSet presAssocID="{C984426F-AAAC-4D7C-A86C-5AD0AC75455A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555808E6-4A7C-45B8-A854-D8BD8049EBE9}" type="pres">
      <dgm:prSet presAssocID="{F72E6FAB-FDB0-4F65-965F-8702F229CBEF}" presName="spacer" presStyleCnt="0"/>
      <dgm:spPr/>
    </dgm:pt>
    <dgm:pt modelId="{620AB720-BEDF-474F-A571-48AC50EBF131}" type="pres">
      <dgm:prSet presAssocID="{9763F87A-A5C6-4EBD-ADF8-A80E0D3F3D9C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1322222D-ACA2-4344-A1D9-2B943C6B2037}" srcId="{E25C1D84-E31A-4AA9-9F7A-2B422D97E50D}" destId="{9763F87A-A5C6-4EBD-ADF8-A80E0D3F3D9C}" srcOrd="3" destOrd="0" parTransId="{0F1D6E25-BE38-41A1-AE77-73C91047DC61}" sibTransId="{EAE3CFB3-65FA-4595-BF17-6DA0D0CF0A64}"/>
    <dgm:cxn modelId="{CAA16D37-11E7-43B2-A337-1ACA7C9D0325}" type="presOf" srcId="{C984426F-AAAC-4D7C-A86C-5AD0AC75455A}" destId="{98EAB03D-9BF1-425C-BD5B-359A0E80151B}" srcOrd="0" destOrd="0" presId="urn:microsoft.com/office/officeart/2005/8/layout/vList2"/>
    <dgm:cxn modelId="{2287A740-DFDB-438E-ABD9-663AB2FA2EDC}" type="presOf" srcId="{9763F87A-A5C6-4EBD-ADF8-A80E0D3F3D9C}" destId="{620AB720-BEDF-474F-A571-48AC50EBF131}" srcOrd="0" destOrd="0" presId="urn:microsoft.com/office/officeart/2005/8/layout/vList2"/>
    <dgm:cxn modelId="{C1D01F5D-8884-4BE2-8E72-66215AEABB58}" type="presOf" srcId="{7841E65A-B1FA-4C71-AEA9-10B31100EDF5}" destId="{95566D0F-0BAC-4577-81D3-0A6DA301AC88}" srcOrd="0" destOrd="0" presId="urn:microsoft.com/office/officeart/2005/8/layout/vList2"/>
    <dgm:cxn modelId="{A1F92A9F-477A-4B55-A93F-7BCB0691A156}" srcId="{E25C1D84-E31A-4AA9-9F7A-2B422D97E50D}" destId="{7841E65A-B1FA-4C71-AEA9-10B31100EDF5}" srcOrd="0" destOrd="0" parTransId="{BA53A9CE-4BD3-444F-86E0-055F4E783318}" sibTransId="{3FD2D0FE-388B-4F8E-843D-7A3794F8203C}"/>
    <dgm:cxn modelId="{4A798BB6-1522-4A07-9074-0CBB79100540}" srcId="{E25C1D84-E31A-4AA9-9F7A-2B422D97E50D}" destId="{C984426F-AAAC-4D7C-A86C-5AD0AC75455A}" srcOrd="2" destOrd="0" parTransId="{548E7740-AAE9-47DE-885F-627B12E05DF8}" sibTransId="{F72E6FAB-FDB0-4F65-965F-8702F229CBEF}"/>
    <dgm:cxn modelId="{C6B64BE0-E40C-4841-8A7E-F097E88D23B7}" type="presOf" srcId="{E25C1D84-E31A-4AA9-9F7A-2B422D97E50D}" destId="{2C54A54E-8AB6-4FEE-B9A3-1979517F6B8F}" srcOrd="0" destOrd="0" presId="urn:microsoft.com/office/officeart/2005/8/layout/vList2"/>
    <dgm:cxn modelId="{854034E5-DCF3-4EBF-BBE9-B8392C39C9D7}" srcId="{E25C1D84-E31A-4AA9-9F7A-2B422D97E50D}" destId="{718833A3-E609-4310-8BC7-62C5B2968B78}" srcOrd="1" destOrd="0" parTransId="{3688C5BD-297B-404D-8B00-D8972D5C0B60}" sibTransId="{1483DE8C-8477-4160-8A36-EB5276FE35CD}"/>
    <dgm:cxn modelId="{50FE84E9-3364-4ABD-AA22-B85556831F2B}" type="presOf" srcId="{718833A3-E609-4310-8BC7-62C5B2968B78}" destId="{F74EA0D2-4D6B-40C6-93F6-AF80E6B58CE9}" srcOrd="0" destOrd="0" presId="urn:microsoft.com/office/officeart/2005/8/layout/vList2"/>
    <dgm:cxn modelId="{19EC4054-C5C8-4F85-A7F5-0EA2542349B4}" type="presParOf" srcId="{2C54A54E-8AB6-4FEE-B9A3-1979517F6B8F}" destId="{95566D0F-0BAC-4577-81D3-0A6DA301AC88}" srcOrd="0" destOrd="0" presId="urn:microsoft.com/office/officeart/2005/8/layout/vList2"/>
    <dgm:cxn modelId="{2D2B1A58-2F72-48DC-AC77-FA771FAEA0CD}" type="presParOf" srcId="{2C54A54E-8AB6-4FEE-B9A3-1979517F6B8F}" destId="{1ABF2533-A53F-4770-98D8-649B07325D67}" srcOrd="1" destOrd="0" presId="urn:microsoft.com/office/officeart/2005/8/layout/vList2"/>
    <dgm:cxn modelId="{511D7EE9-6D45-41B4-80C9-732E22FC6CB9}" type="presParOf" srcId="{2C54A54E-8AB6-4FEE-B9A3-1979517F6B8F}" destId="{F74EA0D2-4D6B-40C6-93F6-AF80E6B58CE9}" srcOrd="2" destOrd="0" presId="urn:microsoft.com/office/officeart/2005/8/layout/vList2"/>
    <dgm:cxn modelId="{259DA84C-DCD7-4361-8908-84A9461C69C8}" type="presParOf" srcId="{2C54A54E-8AB6-4FEE-B9A3-1979517F6B8F}" destId="{3F0ACBE5-ECF6-468C-BC2B-9123E76DEDD9}" srcOrd="3" destOrd="0" presId="urn:microsoft.com/office/officeart/2005/8/layout/vList2"/>
    <dgm:cxn modelId="{52FD4871-1094-40E4-ACC7-419059B256E0}" type="presParOf" srcId="{2C54A54E-8AB6-4FEE-B9A3-1979517F6B8F}" destId="{98EAB03D-9BF1-425C-BD5B-359A0E80151B}" srcOrd="4" destOrd="0" presId="urn:microsoft.com/office/officeart/2005/8/layout/vList2"/>
    <dgm:cxn modelId="{20F88AF3-9A74-4A4A-80F3-B56383A59752}" type="presParOf" srcId="{2C54A54E-8AB6-4FEE-B9A3-1979517F6B8F}" destId="{555808E6-4A7C-45B8-A854-D8BD8049EBE9}" srcOrd="5" destOrd="0" presId="urn:microsoft.com/office/officeart/2005/8/layout/vList2"/>
    <dgm:cxn modelId="{19DA728D-D6DF-4476-901F-26BD36726EED}" type="presParOf" srcId="{2C54A54E-8AB6-4FEE-B9A3-1979517F6B8F}" destId="{620AB720-BEDF-474F-A571-48AC50EBF131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A29BDE8D-1A25-4156-9B5D-69ECDA70682D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5F671A85-046D-4D6A-A068-F3DE390885AF}">
      <dgm:prSet/>
      <dgm:spPr/>
      <dgm:t>
        <a:bodyPr/>
        <a:lstStyle/>
        <a:p>
          <a:pPr rtl="0"/>
          <a:r>
            <a:rPr lang="en-US" b="1" u="sng" dirty="0"/>
            <a:t>Administration:</a:t>
          </a:r>
          <a:r>
            <a:rPr lang="en-US" dirty="0"/>
            <a:t> Optimizing billing for </a:t>
          </a:r>
          <a:r>
            <a:rPr lang="en-US" b="1" dirty="0"/>
            <a:t>procedural sedation </a:t>
          </a:r>
          <a:r>
            <a:rPr lang="en-US" dirty="0"/>
            <a:t>in the ED</a:t>
          </a:r>
        </a:p>
      </dgm:t>
    </dgm:pt>
    <dgm:pt modelId="{78E0F13E-FC27-44AF-90E2-363D75B658A5}" type="parTrans" cxnId="{E657A482-6256-4889-A1B2-FE9CEE9DDA2E}">
      <dgm:prSet/>
      <dgm:spPr/>
      <dgm:t>
        <a:bodyPr/>
        <a:lstStyle/>
        <a:p>
          <a:endParaRPr lang="en-US"/>
        </a:p>
      </dgm:t>
    </dgm:pt>
    <dgm:pt modelId="{E16DA82E-1341-44CC-902D-F01FD2189E3C}" type="sibTrans" cxnId="{E657A482-6256-4889-A1B2-FE9CEE9DDA2E}">
      <dgm:prSet/>
      <dgm:spPr/>
      <dgm:t>
        <a:bodyPr/>
        <a:lstStyle/>
        <a:p>
          <a:endParaRPr lang="en-US"/>
        </a:p>
      </dgm:t>
    </dgm:pt>
    <dgm:pt modelId="{51559CFB-1E4B-4396-8E19-3CFF8317416D}">
      <dgm:prSet/>
      <dgm:spPr/>
      <dgm:t>
        <a:bodyPr/>
        <a:lstStyle/>
        <a:p>
          <a:pPr rtl="0"/>
          <a:r>
            <a:rPr lang="en-US" b="1" u="sng"/>
            <a:t>Asthma:</a:t>
          </a:r>
          <a:r>
            <a:rPr lang="en-US"/>
            <a:t> </a:t>
          </a:r>
          <a:r>
            <a:rPr lang="en-US" dirty="0"/>
            <a:t>Standing Delegation Orders and </a:t>
          </a:r>
          <a:r>
            <a:rPr lang="en-US" b="1" dirty="0"/>
            <a:t>Triage Steroids</a:t>
          </a:r>
          <a:r>
            <a:rPr lang="en-US" dirty="0"/>
            <a:t>, Evaluating the inter-rater reliability and validity of the CRS in asthma patients,</a:t>
          </a:r>
        </a:p>
      </dgm:t>
    </dgm:pt>
    <dgm:pt modelId="{09B6015D-A59B-40F3-9FB9-A32A6D0D92EA}" type="parTrans" cxnId="{97161F82-6D81-4B2B-BB1C-238879A0C581}">
      <dgm:prSet/>
      <dgm:spPr/>
      <dgm:t>
        <a:bodyPr/>
        <a:lstStyle/>
        <a:p>
          <a:endParaRPr lang="en-US"/>
        </a:p>
      </dgm:t>
    </dgm:pt>
    <dgm:pt modelId="{A060C13F-92F5-4673-A9B6-8F077567AED9}" type="sibTrans" cxnId="{97161F82-6D81-4B2B-BB1C-238879A0C581}">
      <dgm:prSet/>
      <dgm:spPr/>
      <dgm:t>
        <a:bodyPr/>
        <a:lstStyle/>
        <a:p>
          <a:endParaRPr lang="en-US"/>
        </a:p>
      </dgm:t>
    </dgm:pt>
    <dgm:pt modelId="{C89E0021-2E8D-42E7-B444-508BF95A9BFC}">
      <dgm:prSet/>
      <dgm:spPr/>
      <dgm:t>
        <a:bodyPr/>
        <a:lstStyle/>
        <a:p>
          <a:pPr rtl="0"/>
          <a:r>
            <a:rPr lang="en-US" b="1" u="sng" dirty="0"/>
            <a:t>Bronchiolitis</a:t>
          </a:r>
          <a:r>
            <a:rPr lang="en-US" b="1" dirty="0"/>
            <a:t>: High Flow Nasal Cannula </a:t>
          </a:r>
          <a:r>
            <a:rPr lang="en-US" dirty="0"/>
            <a:t>and Intubation risk </a:t>
          </a:r>
        </a:p>
      </dgm:t>
    </dgm:pt>
    <dgm:pt modelId="{A7EE3675-A82E-4F43-8046-83313EEE80F7}" type="parTrans" cxnId="{6F2EA273-F689-4A21-9B87-E613350DDA70}">
      <dgm:prSet/>
      <dgm:spPr/>
      <dgm:t>
        <a:bodyPr/>
        <a:lstStyle/>
        <a:p>
          <a:endParaRPr lang="en-US"/>
        </a:p>
      </dgm:t>
    </dgm:pt>
    <dgm:pt modelId="{E72C2549-A28E-4F65-9611-76CB38080A92}" type="sibTrans" cxnId="{6F2EA273-F689-4A21-9B87-E613350DDA70}">
      <dgm:prSet/>
      <dgm:spPr/>
      <dgm:t>
        <a:bodyPr/>
        <a:lstStyle/>
        <a:p>
          <a:endParaRPr lang="en-US"/>
        </a:p>
      </dgm:t>
    </dgm:pt>
    <dgm:pt modelId="{17F729DA-0DC1-4B3B-82BB-ACC38DBAAB1F}">
      <dgm:prSet/>
      <dgm:spPr/>
      <dgm:t>
        <a:bodyPr/>
        <a:lstStyle/>
        <a:p>
          <a:pPr rtl="0"/>
          <a:r>
            <a:rPr lang="en-US" b="1" u="sng" dirty="0"/>
            <a:t>Quality Improvement:</a:t>
          </a:r>
          <a:r>
            <a:rPr lang="en-US" dirty="0"/>
            <a:t> Barriers to </a:t>
          </a:r>
          <a:r>
            <a:rPr lang="en-US" b="1" dirty="0"/>
            <a:t>Flu vaccination </a:t>
          </a:r>
          <a:r>
            <a:rPr lang="en-US" dirty="0"/>
            <a:t>Best practice advisory, MIXED METHODS, Sedation</a:t>
          </a:r>
        </a:p>
      </dgm:t>
    </dgm:pt>
    <dgm:pt modelId="{B02EF682-BB9F-4DA8-93FF-F505E59E38CF}" type="parTrans" cxnId="{340B99C3-B844-4F14-819F-E3DC44A60EF3}">
      <dgm:prSet/>
      <dgm:spPr/>
      <dgm:t>
        <a:bodyPr/>
        <a:lstStyle/>
        <a:p>
          <a:endParaRPr lang="en-US"/>
        </a:p>
      </dgm:t>
    </dgm:pt>
    <dgm:pt modelId="{4DC72B36-B4D3-42E9-BE4E-80EF30BE4779}" type="sibTrans" cxnId="{340B99C3-B844-4F14-819F-E3DC44A60EF3}">
      <dgm:prSet/>
      <dgm:spPr/>
      <dgm:t>
        <a:bodyPr/>
        <a:lstStyle/>
        <a:p>
          <a:endParaRPr lang="en-US"/>
        </a:p>
      </dgm:t>
    </dgm:pt>
    <dgm:pt modelId="{E337E09D-6BD7-42D5-95DA-9A35FDE95509}">
      <dgm:prSet/>
      <dgm:spPr/>
      <dgm:t>
        <a:bodyPr/>
        <a:lstStyle/>
        <a:p>
          <a:pPr rtl="0"/>
          <a:r>
            <a:rPr lang="en-US" b="1" u="sng" dirty="0"/>
            <a:t>Disparities: RETROSPECTIVE </a:t>
          </a:r>
          <a:r>
            <a:rPr lang="en-US" b="1" dirty="0"/>
            <a:t> P</a:t>
          </a:r>
          <a:r>
            <a:rPr lang="en-US" dirty="0"/>
            <a:t>ediatric </a:t>
          </a:r>
          <a:r>
            <a:rPr lang="en-US" b="1" dirty="0"/>
            <a:t>submersions</a:t>
          </a:r>
          <a:r>
            <a:rPr lang="en-US" dirty="0"/>
            <a:t> and safety violations in city swimming pools, Demographic Discordances Between Patient Reported and Electronic Medical Records </a:t>
          </a:r>
        </a:p>
      </dgm:t>
    </dgm:pt>
    <dgm:pt modelId="{D5C8B703-E737-44B9-8FDF-676F2A78A623}" type="parTrans" cxnId="{21F3B918-243E-4DA3-8C9B-0FA832C3D541}">
      <dgm:prSet/>
      <dgm:spPr/>
      <dgm:t>
        <a:bodyPr/>
        <a:lstStyle/>
        <a:p>
          <a:endParaRPr lang="en-US"/>
        </a:p>
      </dgm:t>
    </dgm:pt>
    <dgm:pt modelId="{201A3BF5-D0FA-4EDE-A806-98AD27287BFC}" type="sibTrans" cxnId="{21F3B918-243E-4DA3-8C9B-0FA832C3D541}">
      <dgm:prSet/>
      <dgm:spPr/>
      <dgm:t>
        <a:bodyPr/>
        <a:lstStyle/>
        <a:p>
          <a:endParaRPr lang="en-US"/>
        </a:p>
      </dgm:t>
    </dgm:pt>
    <dgm:pt modelId="{7C0F2B6F-2AF1-402A-B6BE-A35D43156050}">
      <dgm:prSet/>
      <dgm:spPr/>
      <dgm:t>
        <a:bodyPr/>
        <a:lstStyle/>
        <a:p>
          <a:pPr rtl="0"/>
          <a:r>
            <a:rPr lang="en-US" b="1" u="sng" dirty="0"/>
            <a:t>EMS:</a:t>
          </a:r>
          <a:r>
            <a:rPr lang="en-US" b="1" dirty="0"/>
            <a:t> </a:t>
          </a:r>
          <a:r>
            <a:rPr lang="en-US" dirty="0"/>
            <a:t>Prehospital administration of steroids, Mixed-methods study on adherence to </a:t>
          </a:r>
          <a:r>
            <a:rPr lang="en-US" b="1" dirty="0"/>
            <a:t>pediatric seizure protocols </a:t>
          </a:r>
          <a:r>
            <a:rPr lang="en-US" dirty="0"/>
            <a:t>QUALITATIVE, Weight Tools</a:t>
          </a:r>
        </a:p>
      </dgm:t>
    </dgm:pt>
    <dgm:pt modelId="{AD24EAA3-4A3E-4E61-B1C7-44AC27425601}" type="parTrans" cxnId="{7E457660-6307-4265-BFED-5FC4D69544B6}">
      <dgm:prSet/>
      <dgm:spPr/>
      <dgm:t>
        <a:bodyPr/>
        <a:lstStyle/>
        <a:p>
          <a:endParaRPr lang="en-US"/>
        </a:p>
      </dgm:t>
    </dgm:pt>
    <dgm:pt modelId="{EE89EA2A-3463-4E75-821F-C79B78CA80E3}" type="sibTrans" cxnId="{7E457660-6307-4265-BFED-5FC4D69544B6}">
      <dgm:prSet/>
      <dgm:spPr/>
      <dgm:t>
        <a:bodyPr/>
        <a:lstStyle/>
        <a:p>
          <a:endParaRPr lang="en-US"/>
        </a:p>
      </dgm:t>
    </dgm:pt>
    <dgm:pt modelId="{82BECE77-2989-45C5-9F8B-B565B93BE9F4}">
      <dgm:prSet/>
      <dgm:spPr/>
      <dgm:t>
        <a:bodyPr/>
        <a:lstStyle/>
        <a:p>
          <a:pPr rtl="0"/>
          <a:r>
            <a:rPr lang="en-US" b="1" u="sng" dirty="0"/>
            <a:t>POCUS:</a:t>
          </a:r>
          <a:r>
            <a:rPr lang="en-US" dirty="0"/>
            <a:t> POCUS </a:t>
          </a:r>
          <a:r>
            <a:rPr lang="en-US" b="1" u="sng" dirty="0"/>
            <a:t>inferior vena cava </a:t>
          </a:r>
          <a:r>
            <a:rPr lang="en-US" dirty="0"/>
            <a:t>(IVC) measurements to assess the severity of the patient’s </a:t>
          </a:r>
          <a:r>
            <a:rPr lang="en-US" dirty="0" err="1"/>
            <a:t>dehydration;</a:t>
          </a:r>
          <a:r>
            <a:rPr lang="en-US" b="1" u="sng" dirty="0" err="1"/>
            <a:t>“Development</a:t>
          </a:r>
          <a:r>
            <a:rPr lang="en-US" b="1" u="sng" dirty="0"/>
            <a:t> and Implementation of a Novel Point-of-Care Ultrasound Training for Pediatric Providers in Malawi” COVID and POCUS</a:t>
          </a:r>
          <a:endParaRPr lang="en-US" dirty="0"/>
        </a:p>
      </dgm:t>
    </dgm:pt>
    <dgm:pt modelId="{D1E285F6-C62E-48EC-8EF0-7FF81E23F2E0}" type="parTrans" cxnId="{E8F63F17-3B45-49E6-A1CF-DCB4259F0D96}">
      <dgm:prSet/>
      <dgm:spPr/>
      <dgm:t>
        <a:bodyPr/>
        <a:lstStyle/>
        <a:p>
          <a:endParaRPr lang="en-US"/>
        </a:p>
      </dgm:t>
    </dgm:pt>
    <dgm:pt modelId="{206EE2D9-BBFB-43DB-BE3F-E9B5946E981F}" type="sibTrans" cxnId="{E8F63F17-3B45-49E6-A1CF-DCB4259F0D96}">
      <dgm:prSet/>
      <dgm:spPr/>
      <dgm:t>
        <a:bodyPr/>
        <a:lstStyle/>
        <a:p>
          <a:endParaRPr lang="en-US"/>
        </a:p>
      </dgm:t>
    </dgm:pt>
    <dgm:pt modelId="{156D1C11-BECD-4D22-82D0-474C6F45D67E}">
      <dgm:prSet/>
      <dgm:spPr/>
      <dgm:t>
        <a:bodyPr/>
        <a:lstStyle/>
        <a:p>
          <a:pPr rtl="0"/>
          <a:r>
            <a:rPr lang="en-US" b="1" u="sng"/>
            <a:t>Global Health: </a:t>
          </a:r>
          <a:r>
            <a:rPr lang="en-US"/>
            <a:t>Pediatric tropical infectious diseases in emergency medicine utilizing the </a:t>
          </a:r>
          <a:r>
            <a:rPr lang="en-US" b="1"/>
            <a:t>MODIFIED DELPHI METHOD</a:t>
          </a:r>
          <a:r>
            <a:rPr lang="en-US"/>
            <a:t>, Healthcare Provider Attitudes Toward the </a:t>
          </a:r>
          <a:r>
            <a:rPr lang="en-US" b="1"/>
            <a:t>Emergency Triage System in Belize  </a:t>
          </a:r>
          <a:endParaRPr lang="en-US"/>
        </a:p>
      </dgm:t>
    </dgm:pt>
    <dgm:pt modelId="{0F0199A4-97C5-4CF5-A490-D654090F6D69}" type="parTrans" cxnId="{A80F36F6-C27A-4392-A0FC-E8F35C00B717}">
      <dgm:prSet/>
      <dgm:spPr/>
      <dgm:t>
        <a:bodyPr/>
        <a:lstStyle/>
        <a:p>
          <a:endParaRPr lang="en-US"/>
        </a:p>
      </dgm:t>
    </dgm:pt>
    <dgm:pt modelId="{32DFB584-C4E3-495B-B809-BFD52CF69A2D}" type="sibTrans" cxnId="{A80F36F6-C27A-4392-A0FC-E8F35C00B717}">
      <dgm:prSet/>
      <dgm:spPr/>
      <dgm:t>
        <a:bodyPr/>
        <a:lstStyle/>
        <a:p>
          <a:endParaRPr lang="en-US"/>
        </a:p>
      </dgm:t>
    </dgm:pt>
    <dgm:pt modelId="{1211B323-330D-4FF2-9FD0-2CA5D74E2F9D}">
      <dgm:prSet/>
      <dgm:spPr/>
      <dgm:t>
        <a:bodyPr/>
        <a:lstStyle/>
        <a:p>
          <a:pPr rtl="0"/>
          <a:r>
            <a:rPr lang="en-US" b="1" u="sng" dirty="0"/>
            <a:t>EDUCATION, SIMULATION- RCDP, Debriefing Tools, PEM Fellow Procedures; Essential components for debriefing pediatric residents returning from global health experiences</a:t>
          </a:r>
          <a:endParaRPr lang="en-US" dirty="0"/>
        </a:p>
      </dgm:t>
    </dgm:pt>
    <dgm:pt modelId="{B6E3009D-05F0-4795-ACFB-3394C2951E64}" type="parTrans" cxnId="{5212DDA5-1681-4C8D-8590-48AD7DD79175}">
      <dgm:prSet/>
      <dgm:spPr/>
      <dgm:t>
        <a:bodyPr/>
        <a:lstStyle/>
        <a:p>
          <a:endParaRPr lang="en-US"/>
        </a:p>
      </dgm:t>
    </dgm:pt>
    <dgm:pt modelId="{D6B83FE0-C6E8-4AEE-B2CE-FDEE2E572ADD}" type="sibTrans" cxnId="{5212DDA5-1681-4C8D-8590-48AD7DD79175}">
      <dgm:prSet/>
      <dgm:spPr/>
      <dgm:t>
        <a:bodyPr/>
        <a:lstStyle/>
        <a:p>
          <a:endParaRPr lang="en-US"/>
        </a:p>
      </dgm:t>
    </dgm:pt>
    <dgm:pt modelId="{911EA873-4623-42FC-A15F-E39D03B62730}">
      <dgm:prSet/>
      <dgm:spPr/>
      <dgm:t>
        <a:bodyPr/>
        <a:lstStyle/>
        <a:p>
          <a:pPr rtl="0"/>
          <a:r>
            <a:rPr lang="en-US" b="1" dirty="0"/>
            <a:t>Infectious Disease</a:t>
          </a:r>
          <a:r>
            <a:rPr lang="en-US" dirty="0"/>
            <a:t>: Neonatal FEVER, RRTs </a:t>
          </a:r>
        </a:p>
      </dgm:t>
    </dgm:pt>
    <dgm:pt modelId="{A81F9BAA-7B35-4722-AA0D-312E773F174F}" type="parTrans" cxnId="{1109BD97-5DDC-4892-9D06-B79B72103B1B}">
      <dgm:prSet/>
      <dgm:spPr/>
      <dgm:t>
        <a:bodyPr/>
        <a:lstStyle/>
        <a:p>
          <a:endParaRPr lang="en-US"/>
        </a:p>
      </dgm:t>
    </dgm:pt>
    <dgm:pt modelId="{774B3804-8EE1-478B-A30F-0D2865FD1B08}" type="sibTrans" cxnId="{1109BD97-5DDC-4892-9D06-B79B72103B1B}">
      <dgm:prSet/>
      <dgm:spPr/>
      <dgm:t>
        <a:bodyPr/>
        <a:lstStyle/>
        <a:p>
          <a:endParaRPr lang="en-US"/>
        </a:p>
      </dgm:t>
    </dgm:pt>
    <dgm:pt modelId="{465373B3-6A55-409B-8E7B-5CD0C4D2C225}" type="pres">
      <dgm:prSet presAssocID="{A29BDE8D-1A25-4156-9B5D-69ECDA70682D}" presName="linear" presStyleCnt="0">
        <dgm:presLayoutVars>
          <dgm:animLvl val="lvl"/>
          <dgm:resizeHandles val="exact"/>
        </dgm:presLayoutVars>
      </dgm:prSet>
      <dgm:spPr/>
    </dgm:pt>
    <dgm:pt modelId="{6831D0C2-3415-44AF-AD65-E99B512C5559}" type="pres">
      <dgm:prSet presAssocID="{5F671A85-046D-4D6A-A068-F3DE390885AF}" presName="parentText" presStyleLbl="node1" presStyleIdx="0" presStyleCnt="10">
        <dgm:presLayoutVars>
          <dgm:chMax val="0"/>
          <dgm:bulletEnabled val="1"/>
        </dgm:presLayoutVars>
      </dgm:prSet>
      <dgm:spPr/>
    </dgm:pt>
    <dgm:pt modelId="{B0835D80-EC8E-4CC3-AD19-B664AA77A7B8}" type="pres">
      <dgm:prSet presAssocID="{E16DA82E-1341-44CC-902D-F01FD2189E3C}" presName="spacer" presStyleCnt="0"/>
      <dgm:spPr/>
    </dgm:pt>
    <dgm:pt modelId="{8D23D7EA-42BA-418B-8D6F-4C3C0D185071}" type="pres">
      <dgm:prSet presAssocID="{51559CFB-1E4B-4396-8E19-3CFF8317416D}" presName="parentText" presStyleLbl="node1" presStyleIdx="1" presStyleCnt="10">
        <dgm:presLayoutVars>
          <dgm:chMax val="0"/>
          <dgm:bulletEnabled val="1"/>
        </dgm:presLayoutVars>
      </dgm:prSet>
      <dgm:spPr/>
    </dgm:pt>
    <dgm:pt modelId="{98C745A7-8034-47AB-895D-81927DD0FB5F}" type="pres">
      <dgm:prSet presAssocID="{A060C13F-92F5-4673-A9B6-8F077567AED9}" presName="spacer" presStyleCnt="0"/>
      <dgm:spPr/>
    </dgm:pt>
    <dgm:pt modelId="{03E5EEE5-D1C0-43CB-981E-B4B024229958}" type="pres">
      <dgm:prSet presAssocID="{C89E0021-2E8D-42E7-B444-508BF95A9BFC}" presName="parentText" presStyleLbl="node1" presStyleIdx="2" presStyleCnt="10">
        <dgm:presLayoutVars>
          <dgm:chMax val="0"/>
          <dgm:bulletEnabled val="1"/>
        </dgm:presLayoutVars>
      </dgm:prSet>
      <dgm:spPr/>
    </dgm:pt>
    <dgm:pt modelId="{4AC6AC79-F19F-46F2-ABAC-0E1CD4090434}" type="pres">
      <dgm:prSet presAssocID="{E72C2549-A28E-4F65-9611-76CB38080A92}" presName="spacer" presStyleCnt="0"/>
      <dgm:spPr/>
    </dgm:pt>
    <dgm:pt modelId="{45DA199F-2B50-4BFD-8185-E56C7F26B8BA}" type="pres">
      <dgm:prSet presAssocID="{17F729DA-0DC1-4B3B-82BB-ACC38DBAAB1F}" presName="parentText" presStyleLbl="node1" presStyleIdx="3" presStyleCnt="10">
        <dgm:presLayoutVars>
          <dgm:chMax val="0"/>
          <dgm:bulletEnabled val="1"/>
        </dgm:presLayoutVars>
      </dgm:prSet>
      <dgm:spPr/>
    </dgm:pt>
    <dgm:pt modelId="{71559BDC-0C95-42FE-9D79-80A5783E0AC1}" type="pres">
      <dgm:prSet presAssocID="{4DC72B36-B4D3-42E9-BE4E-80EF30BE4779}" presName="spacer" presStyleCnt="0"/>
      <dgm:spPr/>
    </dgm:pt>
    <dgm:pt modelId="{309D2BBA-A85F-4451-8271-13D85769D7CB}" type="pres">
      <dgm:prSet presAssocID="{E337E09D-6BD7-42D5-95DA-9A35FDE95509}" presName="parentText" presStyleLbl="node1" presStyleIdx="4" presStyleCnt="10">
        <dgm:presLayoutVars>
          <dgm:chMax val="0"/>
          <dgm:bulletEnabled val="1"/>
        </dgm:presLayoutVars>
      </dgm:prSet>
      <dgm:spPr/>
    </dgm:pt>
    <dgm:pt modelId="{08574583-F911-4FC9-B555-4BE1C19AE719}" type="pres">
      <dgm:prSet presAssocID="{201A3BF5-D0FA-4EDE-A806-98AD27287BFC}" presName="spacer" presStyleCnt="0"/>
      <dgm:spPr/>
    </dgm:pt>
    <dgm:pt modelId="{C90E5CF5-2264-4E87-8120-16B9B66FF2A9}" type="pres">
      <dgm:prSet presAssocID="{7C0F2B6F-2AF1-402A-B6BE-A35D43156050}" presName="parentText" presStyleLbl="node1" presStyleIdx="5" presStyleCnt="10">
        <dgm:presLayoutVars>
          <dgm:chMax val="0"/>
          <dgm:bulletEnabled val="1"/>
        </dgm:presLayoutVars>
      </dgm:prSet>
      <dgm:spPr/>
    </dgm:pt>
    <dgm:pt modelId="{F4A76F82-21F9-49C8-8BD8-50C1FBDA1DA3}" type="pres">
      <dgm:prSet presAssocID="{EE89EA2A-3463-4E75-821F-C79B78CA80E3}" presName="spacer" presStyleCnt="0"/>
      <dgm:spPr/>
    </dgm:pt>
    <dgm:pt modelId="{207C40BD-9420-42D9-B962-CB0E71E67067}" type="pres">
      <dgm:prSet presAssocID="{82BECE77-2989-45C5-9F8B-B565B93BE9F4}" presName="parentText" presStyleLbl="node1" presStyleIdx="6" presStyleCnt="10">
        <dgm:presLayoutVars>
          <dgm:chMax val="0"/>
          <dgm:bulletEnabled val="1"/>
        </dgm:presLayoutVars>
      </dgm:prSet>
      <dgm:spPr/>
    </dgm:pt>
    <dgm:pt modelId="{C3AD2112-E2C4-47B4-9AF7-56B8F4FFA605}" type="pres">
      <dgm:prSet presAssocID="{206EE2D9-BBFB-43DB-BE3F-E9B5946E981F}" presName="spacer" presStyleCnt="0"/>
      <dgm:spPr/>
    </dgm:pt>
    <dgm:pt modelId="{C292E38D-24E4-4B54-8C3D-BEFC54F3A7AC}" type="pres">
      <dgm:prSet presAssocID="{156D1C11-BECD-4D22-82D0-474C6F45D67E}" presName="parentText" presStyleLbl="node1" presStyleIdx="7" presStyleCnt="10">
        <dgm:presLayoutVars>
          <dgm:chMax val="0"/>
          <dgm:bulletEnabled val="1"/>
        </dgm:presLayoutVars>
      </dgm:prSet>
      <dgm:spPr/>
    </dgm:pt>
    <dgm:pt modelId="{F68FB023-2E54-41E2-9907-85AD7FAC4109}" type="pres">
      <dgm:prSet presAssocID="{32DFB584-C4E3-495B-B809-BFD52CF69A2D}" presName="spacer" presStyleCnt="0"/>
      <dgm:spPr/>
    </dgm:pt>
    <dgm:pt modelId="{268179BE-3227-4842-997B-D64FC4E44F02}" type="pres">
      <dgm:prSet presAssocID="{1211B323-330D-4FF2-9FD0-2CA5D74E2F9D}" presName="parentText" presStyleLbl="node1" presStyleIdx="8" presStyleCnt="10">
        <dgm:presLayoutVars>
          <dgm:chMax val="0"/>
          <dgm:bulletEnabled val="1"/>
        </dgm:presLayoutVars>
      </dgm:prSet>
      <dgm:spPr/>
    </dgm:pt>
    <dgm:pt modelId="{17805192-B88B-4A3A-B207-14B7F7459186}" type="pres">
      <dgm:prSet presAssocID="{D6B83FE0-C6E8-4AEE-B2CE-FDEE2E572ADD}" presName="spacer" presStyleCnt="0"/>
      <dgm:spPr/>
    </dgm:pt>
    <dgm:pt modelId="{E81FAB34-C886-41C2-B743-C36D3EAF1C96}" type="pres">
      <dgm:prSet presAssocID="{911EA873-4623-42FC-A15F-E39D03B62730}" presName="parentText" presStyleLbl="node1" presStyleIdx="9" presStyleCnt="10">
        <dgm:presLayoutVars>
          <dgm:chMax val="0"/>
          <dgm:bulletEnabled val="1"/>
        </dgm:presLayoutVars>
      </dgm:prSet>
      <dgm:spPr/>
    </dgm:pt>
  </dgm:ptLst>
  <dgm:cxnLst>
    <dgm:cxn modelId="{E8F63F17-3B45-49E6-A1CF-DCB4259F0D96}" srcId="{A29BDE8D-1A25-4156-9B5D-69ECDA70682D}" destId="{82BECE77-2989-45C5-9F8B-B565B93BE9F4}" srcOrd="6" destOrd="0" parTransId="{D1E285F6-C62E-48EC-8EF0-7FF81E23F2E0}" sibTransId="{206EE2D9-BBFB-43DB-BE3F-E9B5946E981F}"/>
    <dgm:cxn modelId="{21F3B918-243E-4DA3-8C9B-0FA832C3D541}" srcId="{A29BDE8D-1A25-4156-9B5D-69ECDA70682D}" destId="{E337E09D-6BD7-42D5-95DA-9A35FDE95509}" srcOrd="4" destOrd="0" parTransId="{D5C8B703-E737-44B9-8FDF-676F2A78A623}" sibTransId="{201A3BF5-D0FA-4EDE-A806-98AD27287BFC}"/>
    <dgm:cxn modelId="{38CBF124-A438-436C-820C-B42587B5F56D}" type="presOf" srcId="{C89E0021-2E8D-42E7-B444-508BF95A9BFC}" destId="{03E5EEE5-D1C0-43CB-981E-B4B024229958}" srcOrd="0" destOrd="0" presId="urn:microsoft.com/office/officeart/2005/8/layout/vList2"/>
    <dgm:cxn modelId="{139ED933-54E9-49A0-8FD5-7493EC9C3774}" type="presOf" srcId="{51559CFB-1E4B-4396-8E19-3CFF8317416D}" destId="{8D23D7EA-42BA-418B-8D6F-4C3C0D185071}" srcOrd="0" destOrd="0" presId="urn:microsoft.com/office/officeart/2005/8/layout/vList2"/>
    <dgm:cxn modelId="{84B9F541-215B-42FB-A005-2CD80346BB9B}" type="presOf" srcId="{82BECE77-2989-45C5-9F8B-B565B93BE9F4}" destId="{207C40BD-9420-42D9-B962-CB0E71E67067}" srcOrd="0" destOrd="0" presId="urn:microsoft.com/office/officeart/2005/8/layout/vList2"/>
    <dgm:cxn modelId="{7E457660-6307-4265-BFED-5FC4D69544B6}" srcId="{A29BDE8D-1A25-4156-9B5D-69ECDA70682D}" destId="{7C0F2B6F-2AF1-402A-B6BE-A35D43156050}" srcOrd="5" destOrd="0" parTransId="{AD24EAA3-4A3E-4E61-B1C7-44AC27425601}" sibTransId="{EE89EA2A-3463-4E75-821F-C79B78CA80E3}"/>
    <dgm:cxn modelId="{6F2EA273-F689-4A21-9B87-E613350DDA70}" srcId="{A29BDE8D-1A25-4156-9B5D-69ECDA70682D}" destId="{C89E0021-2E8D-42E7-B444-508BF95A9BFC}" srcOrd="2" destOrd="0" parTransId="{A7EE3675-A82E-4F43-8046-83313EEE80F7}" sibTransId="{E72C2549-A28E-4F65-9611-76CB38080A92}"/>
    <dgm:cxn modelId="{6A3A817A-CE83-4A9F-BAAE-F5C35EF2B4E0}" type="presOf" srcId="{E337E09D-6BD7-42D5-95DA-9A35FDE95509}" destId="{309D2BBA-A85F-4451-8271-13D85769D7CB}" srcOrd="0" destOrd="0" presId="urn:microsoft.com/office/officeart/2005/8/layout/vList2"/>
    <dgm:cxn modelId="{97161F82-6D81-4B2B-BB1C-238879A0C581}" srcId="{A29BDE8D-1A25-4156-9B5D-69ECDA70682D}" destId="{51559CFB-1E4B-4396-8E19-3CFF8317416D}" srcOrd="1" destOrd="0" parTransId="{09B6015D-A59B-40F3-9FB9-A32A6D0D92EA}" sibTransId="{A060C13F-92F5-4673-A9B6-8F077567AED9}"/>
    <dgm:cxn modelId="{E657A482-6256-4889-A1B2-FE9CEE9DDA2E}" srcId="{A29BDE8D-1A25-4156-9B5D-69ECDA70682D}" destId="{5F671A85-046D-4D6A-A068-F3DE390885AF}" srcOrd="0" destOrd="0" parTransId="{78E0F13E-FC27-44AF-90E2-363D75B658A5}" sibTransId="{E16DA82E-1341-44CC-902D-F01FD2189E3C}"/>
    <dgm:cxn modelId="{FBA19386-F388-4AD0-9735-D27737B47328}" type="presOf" srcId="{7C0F2B6F-2AF1-402A-B6BE-A35D43156050}" destId="{C90E5CF5-2264-4E87-8120-16B9B66FF2A9}" srcOrd="0" destOrd="0" presId="urn:microsoft.com/office/officeart/2005/8/layout/vList2"/>
    <dgm:cxn modelId="{D0926B90-0ABB-422B-91A9-171EAB8CFC2A}" type="presOf" srcId="{5F671A85-046D-4D6A-A068-F3DE390885AF}" destId="{6831D0C2-3415-44AF-AD65-E99B512C5559}" srcOrd="0" destOrd="0" presId="urn:microsoft.com/office/officeart/2005/8/layout/vList2"/>
    <dgm:cxn modelId="{979D9691-BE79-4B74-A274-80748A484C4B}" type="presOf" srcId="{911EA873-4623-42FC-A15F-E39D03B62730}" destId="{E81FAB34-C886-41C2-B743-C36D3EAF1C96}" srcOrd="0" destOrd="0" presId="urn:microsoft.com/office/officeart/2005/8/layout/vList2"/>
    <dgm:cxn modelId="{1109BD97-5DDC-4892-9D06-B79B72103B1B}" srcId="{A29BDE8D-1A25-4156-9B5D-69ECDA70682D}" destId="{911EA873-4623-42FC-A15F-E39D03B62730}" srcOrd="9" destOrd="0" parTransId="{A81F9BAA-7B35-4722-AA0D-312E773F174F}" sibTransId="{774B3804-8EE1-478B-A30F-0D2865FD1B08}"/>
    <dgm:cxn modelId="{9490AB9F-2BB6-4A8B-9004-22F864D2AC16}" type="presOf" srcId="{A29BDE8D-1A25-4156-9B5D-69ECDA70682D}" destId="{465373B3-6A55-409B-8E7B-5CD0C4D2C225}" srcOrd="0" destOrd="0" presId="urn:microsoft.com/office/officeart/2005/8/layout/vList2"/>
    <dgm:cxn modelId="{5212DDA5-1681-4C8D-8590-48AD7DD79175}" srcId="{A29BDE8D-1A25-4156-9B5D-69ECDA70682D}" destId="{1211B323-330D-4FF2-9FD0-2CA5D74E2F9D}" srcOrd="8" destOrd="0" parTransId="{B6E3009D-05F0-4795-ACFB-3394C2951E64}" sibTransId="{D6B83FE0-C6E8-4AEE-B2CE-FDEE2E572ADD}"/>
    <dgm:cxn modelId="{191AF5A6-DD7B-4F2D-8589-D14E2139FFCF}" type="presOf" srcId="{1211B323-330D-4FF2-9FD0-2CA5D74E2F9D}" destId="{268179BE-3227-4842-997B-D64FC4E44F02}" srcOrd="0" destOrd="0" presId="urn:microsoft.com/office/officeart/2005/8/layout/vList2"/>
    <dgm:cxn modelId="{075D55B4-D622-4834-945C-CB28575C5B35}" type="presOf" srcId="{156D1C11-BECD-4D22-82D0-474C6F45D67E}" destId="{C292E38D-24E4-4B54-8C3D-BEFC54F3A7AC}" srcOrd="0" destOrd="0" presId="urn:microsoft.com/office/officeart/2005/8/layout/vList2"/>
    <dgm:cxn modelId="{340B99C3-B844-4F14-819F-E3DC44A60EF3}" srcId="{A29BDE8D-1A25-4156-9B5D-69ECDA70682D}" destId="{17F729DA-0DC1-4B3B-82BB-ACC38DBAAB1F}" srcOrd="3" destOrd="0" parTransId="{B02EF682-BB9F-4DA8-93FF-F505E59E38CF}" sibTransId="{4DC72B36-B4D3-42E9-BE4E-80EF30BE4779}"/>
    <dgm:cxn modelId="{0937B8D1-5564-45B6-89BA-25A4CA76F7A4}" type="presOf" srcId="{17F729DA-0DC1-4B3B-82BB-ACC38DBAAB1F}" destId="{45DA199F-2B50-4BFD-8185-E56C7F26B8BA}" srcOrd="0" destOrd="0" presId="urn:microsoft.com/office/officeart/2005/8/layout/vList2"/>
    <dgm:cxn modelId="{A80F36F6-C27A-4392-A0FC-E8F35C00B717}" srcId="{A29BDE8D-1A25-4156-9B5D-69ECDA70682D}" destId="{156D1C11-BECD-4D22-82D0-474C6F45D67E}" srcOrd="7" destOrd="0" parTransId="{0F0199A4-97C5-4CF5-A490-D654090F6D69}" sibTransId="{32DFB584-C4E3-495B-B809-BFD52CF69A2D}"/>
    <dgm:cxn modelId="{D2AB6258-C7C2-408A-BF9E-48FB98B2AB92}" type="presParOf" srcId="{465373B3-6A55-409B-8E7B-5CD0C4D2C225}" destId="{6831D0C2-3415-44AF-AD65-E99B512C5559}" srcOrd="0" destOrd="0" presId="urn:microsoft.com/office/officeart/2005/8/layout/vList2"/>
    <dgm:cxn modelId="{886BC112-5764-4CA2-A0CB-055AF6720337}" type="presParOf" srcId="{465373B3-6A55-409B-8E7B-5CD0C4D2C225}" destId="{B0835D80-EC8E-4CC3-AD19-B664AA77A7B8}" srcOrd="1" destOrd="0" presId="urn:microsoft.com/office/officeart/2005/8/layout/vList2"/>
    <dgm:cxn modelId="{CF4F5309-4A4A-4A20-9A42-19605DB7E9D4}" type="presParOf" srcId="{465373B3-6A55-409B-8E7B-5CD0C4D2C225}" destId="{8D23D7EA-42BA-418B-8D6F-4C3C0D185071}" srcOrd="2" destOrd="0" presId="urn:microsoft.com/office/officeart/2005/8/layout/vList2"/>
    <dgm:cxn modelId="{4AB59C07-9D15-45D5-9DE2-76180D6F0A5F}" type="presParOf" srcId="{465373B3-6A55-409B-8E7B-5CD0C4D2C225}" destId="{98C745A7-8034-47AB-895D-81927DD0FB5F}" srcOrd="3" destOrd="0" presId="urn:microsoft.com/office/officeart/2005/8/layout/vList2"/>
    <dgm:cxn modelId="{558014FA-AECE-4B94-B725-A3D992E8E11C}" type="presParOf" srcId="{465373B3-6A55-409B-8E7B-5CD0C4D2C225}" destId="{03E5EEE5-D1C0-43CB-981E-B4B024229958}" srcOrd="4" destOrd="0" presId="urn:microsoft.com/office/officeart/2005/8/layout/vList2"/>
    <dgm:cxn modelId="{E0D68F26-449A-4F0C-AA5E-4B82394AC2AD}" type="presParOf" srcId="{465373B3-6A55-409B-8E7B-5CD0C4D2C225}" destId="{4AC6AC79-F19F-46F2-ABAC-0E1CD4090434}" srcOrd="5" destOrd="0" presId="urn:microsoft.com/office/officeart/2005/8/layout/vList2"/>
    <dgm:cxn modelId="{29DCE15C-15CB-4EA5-AE0A-756582FE6CC3}" type="presParOf" srcId="{465373B3-6A55-409B-8E7B-5CD0C4D2C225}" destId="{45DA199F-2B50-4BFD-8185-E56C7F26B8BA}" srcOrd="6" destOrd="0" presId="urn:microsoft.com/office/officeart/2005/8/layout/vList2"/>
    <dgm:cxn modelId="{B60339E1-CA2E-49DF-BE1C-83FCB3941548}" type="presParOf" srcId="{465373B3-6A55-409B-8E7B-5CD0C4D2C225}" destId="{71559BDC-0C95-42FE-9D79-80A5783E0AC1}" srcOrd="7" destOrd="0" presId="urn:microsoft.com/office/officeart/2005/8/layout/vList2"/>
    <dgm:cxn modelId="{2AAEBA29-0969-4532-A201-A5CE01F44F05}" type="presParOf" srcId="{465373B3-6A55-409B-8E7B-5CD0C4D2C225}" destId="{309D2BBA-A85F-4451-8271-13D85769D7CB}" srcOrd="8" destOrd="0" presId="urn:microsoft.com/office/officeart/2005/8/layout/vList2"/>
    <dgm:cxn modelId="{9BB18D09-9800-4DE0-B11E-65ABBA177532}" type="presParOf" srcId="{465373B3-6A55-409B-8E7B-5CD0C4D2C225}" destId="{08574583-F911-4FC9-B555-4BE1C19AE719}" srcOrd="9" destOrd="0" presId="urn:microsoft.com/office/officeart/2005/8/layout/vList2"/>
    <dgm:cxn modelId="{8A0C0030-9769-4BA3-8DCA-B6BB4634EB04}" type="presParOf" srcId="{465373B3-6A55-409B-8E7B-5CD0C4D2C225}" destId="{C90E5CF5-2264-4E87-8120-16B9B66FF2A9}" srcOrd="10" destOrd="0" presId="urn:microsoft.com/office/officeart/2005/8/layout/vList2"/>
    <dgm:cxn modelId="{ADE353BC-5114-410E-96FD-7D06C756E4C4}" type="presParOf" srcId="{465373B3-6A55-409B-8E7B-5CD0C4D2C225}" destId="{F4A76F82-21F9-49C8-8BD8-50C1FBDA1DA3}" srcOrd="11" destOrd="0" presId="urn:microsoft.com/office/officeart/2005/8/layout/vList2"/>
    <dgm:cxn modelId="{58C14CAC-5FA3-4A5F-A20F-E36068857DEB}" type="presParOf" srcId="{465373B3-6A55-409B-8E7B-5CD0C4D2C225}" destId="{207C40BD-9420-42D9-B962-CB0E71E67067}" srcOrd="12" destOrd="0" presId="urn:microsoft.com/office/officeart/2005/8/layout/vList2"/>
    <dgm:cxn modelId="{E0C605D5-888B-4FAD-A2D6-A0FEBF3A2A86}" type="presParOf" srcId="{465373B3-6A55-409B-8E7B-5CD0C4D2C225}" destId="{C3AD2112-E2C4-47B4-9AF7-56B8F4FFA605}" srcOrd="13" destOrd="0" presId="urn:microsoft.com/office/officeart/2005/8/layout/vList2"/>
    <dgm:cxn modelId="{077DB723-3A94-4CD0-99B2-4BBD9C149F95}" type="presParOf" srcId="{465373B3-6A55-409B-8E7B-5CD0C4D2C225}" destId="{C292E38D-24E4-4B54-8C3D-BEFC54F3A7AC}" srcOrd="14" destOrd="0" presId="urn:microsoft.com/office/officeart/2005/8/layout/vList2"/>
    <dgm:cxn modelId="{BFD38DAA-1C0D-4117-8CD3-7B851BE294BA}" type="presParOf" srcId="{465373B3-6A55-409B-8E7B-5CD0C4D2C225}" destId="{F68FB023-2E54-41E2-9907-85AD7FAC4109}" srcOrd="15" destOrd="0" presId="urn:microsoft.com/office/officeart/2005/8/layout/vList2"/>
    <dgm:cxn modelId="{316A3CA9-95E1-416E-9774-E06B5A588A69}" type="presParOf" srcId="{465373B3-6A55-409B-8E7B-5CD0C4D2C225}" destId="{268179BE-3227-4842-997B-D64FC4E44F02}" srcOrd="16" destOrd="0" presId="urn:microsoft.com/office/officeart/2005/8/layout/vList2"/>
    <dgm:cxn modelId="{9892A186-6130-4DC9-A607-2DB5CEFDF3D6}" type="presParOf" srcId="{465373B3-6A55-409B-8E7B-5CD0C4D2C225}" destId="{17805192-B88B-4A3A-B207-14B7F7459186}" srcOrd="17" destOrd="0" presId="urn:microsoft.com/office/officeart/2005/8/layout/vList2"/>
    <dgm:cxn modelId="{C20F265A-4A26-4FF7-81CB-CD4429C9A6F4}" type="presParOf" srcId="{465373B3-6A55-409B-8E7B-5CD0C4D2C225}" destId="{E81FAB34-C886-41C2-B743-C36D3EAF1C96}" srcOrd="1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8.xml><?xml version="1.0" encoding="utf-8"?>
<dgm:dataModel xmlns:dgm="http://schemas.openxmlformats.org/drawingml/2006/diagram" xmlns:a="http://schemas.openxmlformats.org/drawingml/2006/main">
  <dgm:ptLst>
    <dgm:pt modelId="{ECFF3C78-AF6F-4262-8707-8EAA40F8901D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D21C2B3-1377-441E-B257-B47DE7F76533}">
      <dgm:prSet/>
      <dgm:spPr/>
      <dgm:t>
        <a:bodyPr/>
        <a:lstStyle/>
        <a:p>
          <a:pPr rtl="0"/>
          <a:r>
            <a:rPr lang="en-US" dirty="0"/>
            <a:t>360 evaluations-peer, self, outside rotations, procedural, PEM </a:t>
          </a:r>
        </a:p>
      </dgm:t>
    </dgm:pt>
    <dgm:pt modelId="{47815138-BAA2-4D2E-A381-04BAADD78341}" type="parTrans" cxnId="{E9404B09-3966-4FD3-8E9D-538B7001974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21BB577-ED32-4578-8154-7342E5E050DB}" type="sibTrans" cxnId="{E9404B09-3966-4FD3-8E9D-538B7001974E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6B84CACB-07DA-45EE-97D4-E6E015941145}">
      <dgm:prSet/>
      <dgm:spPr/>
      <dgm:t>
        <a:bodyPr/>
        <a:lstStyle/>
        <a:p>
          <a:pPr rtl="0"/>
          <a:r>
            <a:rPr lang="en-US"/>
            <a:t>Progress monitored monthly, quarterly, and semi-annually</a:t>
          </a:r>
          <a:endParaRPr lang="en-US" dirty="0"/>
        </a:p>
      </dgm:t>
    </dgm:pt>
    <dgm:pt modelId="{B5299518-19BA-4427-A5CD-7BEA404C3E20}" type="parTrans" cxnId="{1B99D9CE-D089-4F9C-99BC-955BBB4F7263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10E5F26-5489-4659-8109-493A78A2CFD4}" type="sibTrans" cxnId="{1B99D9CE-D089-4F9C-99BC-955BBB4F7263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E6AEACD7-DF23-46CC-BA72-E9D598AA668E}">
      <dgm:prSet/>
      <dgm:spPr/>
      <dgm:t>
        <a:bodyPr/>
        <a:lstStyle/>
        <a:p>
          <a:pPr rtl="0"/>
          <a:endParaRPr lang="en-US" dirty="0">
            <a:solidFill>
              <a:schemeClr val="bg1"/>
            </a:solidFill>
          </a:endParaRPr>
        </a:p>
      </dgm:t>
    </dgm:pt>
    <dgm:pt modelId="{63D302F2-67D2-4542-8471-87868C70542D}" type="parTrans" cxnId="{83DB935E-FD76-4BB0-B991-C7D41445466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5A16354-510B-4BE0-84E5-7DFCB2A18FB7}" type="sibTrans" cxnId="{83DB935E-FD76-4BB0-B991-C7D414454665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8EB694A-C40A-4A52-923D-BE3E428ED96F}">
      <dgm:prSet/>
      <dgm:spPr/>
      <dgm:t>
        <a:bodyPr/>
        <a:lstStyle/>
        <a:p>
          <a:pPr rtl="0"/>
          <a:r>
            <a:rPr lang="en-US"/>
            <a:t>Evaluated on all core competencies for PEM</a:t>
          </a:r>
          <a:endParaRPr lang="en-US" dirty="0"/>
        </a:p>
      </dgm:t>
    </dgm:pt>
    <dgm:pt modelId="{FB1275A6-65DA-4E53-9910-91F195B69B95}" type="parTrans" cxnId="{38808320-F5C1-4044-8957-91A5FE9FFF5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806ADA07-481A-401D-A7DD-36B361C7DE6E}" type="sibTrans" cxnId="{38808320-F5C1-4044-8957-91A5FE9FFF50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83D5FD70-8B88-4C8C-9CB5-6308F5373A52}">
      <dgm:prSet/>
      <dgm:spPr/>
      <dgm:t>
        <a:bodyPr/>
        <a:lstStyle/>
        <a:p>
          <a:pPr rtl="0"/>
          <a:endParaRPr lang="en-US" dirty="0">
            <a:solidFill>
              <a:schemeClr val="bg1"/>
            </a:solidFill>
          </a:endParaRPr>
        </a:p>
      </dgm:t>
    </dgm:pt>
    <dgm:pt modelId="{34D45CC7-E50C-4B2B-8CCF-D0649B0D9F82}" type="parTrans" cxnId="{7B62CFD5-FE78-4105-AD56-B35787C777B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3DE66012-E9B6-4A06-B0AB-347B8D7128AE}" type="sibTrans" cxnId="{7B62CFD5-FE78-4105-AD56-B35787C777B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39864C3-B9D5-4FC1-98CE-C87BD7E90A23}" type="pres">
      <dgm:prSet presAssocID="{ECFF3C78-AF6F-4262-8707-8EAA40F8901D}" presName="linear" presStyleCnt="0">
        <dgm:presLayoutVars>
          <dgm:animLvl val="lvl"/>
          <dgm:resizeHandles val="exact"/>
        </dgm:presLayoutVars>
      </dgm:prSet>
      <dgm:spPr/>
    </dgm:pt>
    <dgm:pt modelId="{9B2BF914-81B9-477A-86C8-3CBE853CFB59}" type="pres">
      <dgm:prSet presAssocID="{CD21C2B3-1377-441E-B257-B47DE7F76533}" presName="parentText" presStyleLbl="node1" presStyleIdx="0" presStyleCnt="3" custLinFactNeighborY="35722">
        <dgm:presLayoutVars>
          <dgm:chMax val="0"/>
          <dgm:bulletEnabled val="1"/>
        </dgm:presLayoutVars>
      </dgm:prSet>
      <dgm:spPr/>
    </dgm:pt>
    <dgm:pt modelId="{271FB76C-ED50-4B99-AC24-16F95FF6438B}" type="pres">
      <dgm:prSet presAssocID="{F21BB577-ED32-4578-8154-7342E5E050DB}" presName="spacer" presStyleCnt="0"/>
      <dgm:spPr/>
    </dgm:pt>
    <dgm:pt modelId="{E4CD91DF-E81C-4A23-94B2-6D26E1EE0564}" type="pres">
      <dgm:prSet presAssocID="{6B84CACB-07DA-45EE-97D4-E6E015941145}" presName="parentText" presStyleLbl="node1" presStyleIdx="1" presStyleCnt="3" custLinFactNeighborY="25409">
        <dgm:presLayoutVars>
          <dgm:chMax val="0"/>
          <dgm:bulletEnabled val="1"/>
        </dgm:presLayoutVars>
      </dgm:prSet>
      <dgm:spPr/>
    </dgm:pt>
    <dgm:pt modelId="{C0DE6106-0F39-4BEC-B3CA-4FE0EDF5303A}" type="pres">
      <dgm:prSet presAssocID="{6B84CACB-07DA-45EE-97D4-E6E015941145}" presName="childText" presStyleLbl="revTx" presStyleIdx="0" presStyleCnt="2">
        <dgm:presLayoutVars>
          <dgm:bulletEnabled val="1"/>
        </dgm:presLayoutVars>
      </dgm:prSet>
      <dgm:spPr/>
    </dgm:pt>
    <dgm:pt modelId="{EA1FC554-5F21-46E9-A7E1-FD0D1815FBBB}" type="pres">
      <dgm:prSet presAssocID="{28EB694A-C40A-4A52-923D-BE3E428ED96F}" presName="parentText" presStyleLbl="node1" presStyleIdx="2" presStyleCnt="3" custLinFactNeighborY="-44973">
        <dgm:presLayoutVars>
          <dgm:chMax val="0"/>
          <dgm:bulletEnabled val="1"/>
        </dgm:presLayoutVars>
      </dgm:prSet>
      <dgm:spPr/>
    </dgm:pt>
    <dgm:pt modelId="{1A4F0C9E-739D-4E96-ACF2-D2F7DE10962B}" type="pres">
      <dgm:prSet presAssocID="{28EB694A-C40A-4A52-923D-BE3E428ED96F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E9404B09-3966-4FD3-8E9D-538B7001974E}" srcId="{ECFF3C78-AF6F-4262-8707-8EAA40F8901D}" destId="{CD21C2B3-1377-441E-B257-B47DE7F76533}" srcOrd="0" destOrd="0" parTransId="{47815138-BAA2-4D2E-A381-04BAADD78341}" sibTransId="{F21BB577-ED32-4578-8154-7342E5E050DB}"/>
    <dgm:cxn modelId="{460E8A1B-E40D-407D-A2A1-8937139A3CC9}" type="presOf" srcId="{6B84CACB-07DA-45EE-97D4-E6E015941145}" destId="{E4CD91DF-E81C-4A23-94B2-6D26E1EE0564}" srcOrd="0" destOrd="0" presId="urn:microsoft.com/office/officeart/2005/8/layout/vList2"/>
    <dgm:cxn modelId="{38808320-F5C1-4044-8957-91A5FE9FFF50}" srcId="{ECFF3C78-AF6F-4262-8707-8EAA40F8901D}" destId="{28EB694A-C40A-4A52-923D-BE3E428ED96F}" srcOrd="2" destOrd="0" parTransId="{FB1275A6-65DA-4E53-9910-91F195B69B95}" sibTransId="{806ADA07-481A-401D-A7DD-36B361C7DE6E}"/>
    <dgm:cxn modelId="{7F62FF24-274B-41E9-B88C-8E80035CC0E7}" type="presOf" srcId="{CD21C2B3-1377-441E-B257-B47DE7F76533}" destId="{9B2BF914-81B9-477A-86C8-3CBE853CFB59}" srcOrd="0" destOrd="0" presId="urn:microsoft.com/office/officeart/2005/8/layout/vList2"/>
    <dgm:cxn modelId="{6F3A6653-2CAD-4E13-A320-12C8BFFEEB51}" type="presOf" srcId="{E6AEACD7-DF23-46CC-BA72-E9D598AA668E}" destId="{C0DE6106-0F39-4BEC-B3CA-4FE0EDF5303A}" srcOrd="0" destOrd="0" presId="urn:microsoft.com/office/officeart/2005/8/layout/vList2"/>
    <dgm:cxn modelId="{928CE15D-0DD8-43F5-B1C6-306D54873BF4}" type="presOf" srcId="{28EB694A-C40A-4A52-923D-BE3E428ED96F}" destId="{EA1FC554-5F21-46E9-A7E1-FD0D1815FBBB}" srcOrd="0" destOrd="0" presId="urn:microsoft.com/office/officeart/2005/8/layout/vList2"/>
    <dgm:cxn modelId="{83DB935E-FD76-4BB0-B991-C7D414454665}" srcId="{6B84CACB-07DA-45EE-97D4-E6E015941145}" destId="{E6AEACD7-DF23-46CC-BA72-E9D598AA668E}" srcOrd="0" destOrd="0" parTransId="{63D302F2-67D2-4542-8471-87868C70542D}" sibTransId="{95A16354-510B-4BE0-84E5-7DFCB2A18FB7}"/>
    <dgm:cxn modelId="{1B99D9CE-D089-4F9C-99BC-955BBB4F7263}" srcId="{ECFF3C78-AF6F-4262-8707-8EAA40F8901D}" destId="{6B84CACB-07DA-45EE-97D4-E6E015941145}" srcOrd="1" destOrd="0" parTransId="{B5299518-19BA-4427-A5CD-7BEA404C3E20}" sibTransId="{A10E5F26-5489-4659-8109-493A78A2CFD4}"/>
    <dgm:cxn modelId="{33A419D4-B8A8-4038-A3E8-9177844FF8B0}" type="presOf" srcId="{83D5FD70-8B88-4C8C-9CB5-6308F5373A52}" destId="{1A4F0C9E-739D-4E96-ACF2-D2F7DE10962B}" srcOrd="0" destOrd="0" presId="urn:microsoft.com/office/officeart/2005/8/layout/vList2"/>
    <dgm:cxn modelId="{7B62CFD5-FE78-4105-AD56-B35787C777BB}" srcId="{28EB694A-C40A-4A52-923D-BE3E428ED96F}" destId="{83D5FD70-8B88-4C8C-9CB5-6308F5373A52}" srcOrd="0" destOrd="0" parTransId="{34D45CC7-E50C-4B2B-8CCF-D0649B0D9F82}" sibTransId="{3DE66012-E9B6-4A06-B0AB-347B8D7128AE}"/>
    <dgm:cxn modelId="{5A8D22F5-2433-4505-82EE-1CFCC0EFDC58}" type="presOf" srcId="{ECFF3C78-AF6F-4262-8707-8EAA40F8901D}" destId="{239864C3-B9D5-4FC1-98CE-C87BD7E90A23}" srcOrd="0" destOrd="0" presId="urn:microsoft.com/office/officeart/2005/8/layout/vList2"/>
    <dgm:cxn modelId="{DCD6F060-0120-458E-A764-C9C4BD827C38}" type="presParOf" srcId="{239864C3-B9D5-4FC1-98CE-C87BD7E90A23}" destId="{9B2BF914-81B9-477A-86C8-3CBE853CFB59}" srcOrd="0" destOrd="0" presId="urn:microsoft.com/office/officeart/2005/8/layout/vList2"/>
    <dgm:cxn modelId="{3668EA78-B3BF-4768-BE88-6A056766B110}" type="presParOf" srcId="{239864C3-B9D5-4FC1-98CE-C87BD7E90A23}" destId="{271FB76C-ED50-4B99-AC24-16F95FF6438B}" srcOrd="1" destOrd="0" presId="urn:microsoft.com/office/officeart/2005/8/layout/vList2"/>
    <dgm:cxn modelId="{58B6FD79-DD99-41BF-A575-CEEEEBDA4313}" type="presParOf" srcId="{239864C3-B9D5-4FC1-98CE-C87BD7E90A23}" destId="{E4CD91DF-E81C-4A23-94B2-6D26E1EE0564}" srcOrd="2" destOrd="0" presId="urn:microsoft.com/office/officeart/2005/8/layout/vList2"/>
    <dgm:cxn modelId="{98A036EB-B80E-4B14-8B12-C5C58E1A5C19}" type="presParOf" srcId="{239864C3-B9D5-4FC1-98CE-C87BD7E90A23}" destId="{C0DE6106-0F39-4BEC-B3CA-4FE0EDF5303A}" srcOrd="3" destOrd="0" presId="urn:microsoft.com/office/officeart/2005/8/layout/vList2"/>
    <dgm:cxn modelId="{CA0B200D-B36E-4B1C-84F1-DCA7E37D322E}" type="presParOf" srcId="{239864C3-B9D5-4FC1-98CE-C87BD7E90A23}" destId="{EA1FC554-5F21-46E9-A7E1-FD0D1815FBBB}" srcOrd="4" destOrd="0" presId="urn:microsoft.com/office/officeart/2005/8/layout/vList2"/>
    <dgm:cxn modelId="{1239C334-95A1-42B8-9786-B36FF7DE9D4A}" type="presParOf" srcId="{239864C3-B9D5-4FC1-98CE-C87BD7E90A23}" destId="{1A4F0C9E-739D-4E96-ACF2-D2F7DE10962B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9.xml><?xml version="1.0" encoding="utf-8"?>
<dgm:dataModel xmlns:dgm="http://schemas.openxmlformats.org/drawingml/2006/diagram" xmlns:a="http://schemas.openxmlformats.org/drawingml/2006/main">
  <dgm:ptLst>
    <dgm:pt modelId="{2C41C615-E8EA-4A3D-B1EE-B493BFE3AA66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F60E4B7-F20B-4289-9062-F4FFAE3110B5}">
      <dgm:prSet/>
      <dgm:spPr/>
      <dgm:t>
        <a:bodyPr/>
        <a:lstStyle/>
        <a:p>
          <a:pPr rtl="0"/>
          <a:r>
            <a:rPr lang="en-US"/>
            <a:t>1</a:t>
          </a:r>
          <a:r>
            <a:rPr lang="en-US" baseline="30000"/>
            <a:t>st</a:t>
          </a:r>
          <a:r>
            <a:rPr lang="en-US"/>
            <a:t> years can start moonlighting after 2 quarterly evaluations cycles complete and competency ascertained</a:t>
          </a:r>
          <a:endParaRPr lang="en-US" dirty="0"/>
        </a:p>
      </dgm:t>
    </dgm:pt>
    <dgm:pt modelId="{7E170869-9353-4DD4-ACB4-D6F39A4ADE27}" type="parTrans" cxnId="{2D9A8352-5201-4E98-AD08-C221C87F92B6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EB51410-AEC8-4D28-94DE-93B138D00AFF}" type="sibTrans" cxnId="{2D9A8352-5201-4E98-AD08-C221C87F92B6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5BE1078-A232-425B-9847-EE16ED8DC19B}">
      <dgm:prSet/>
      <dgm:spPr/>
      <dgm:t>
        <a:bodyPr/>
        <a:lstStyle/>
        <a:p>
          <a:pPr rtl="0"/>
          <a:r>
            <a:rPr lang="en-US"/>
            <a:t>TX license, DEA and DPS numbers</a:t>
          </a:r>
        </a:p>
      </dgm:t>
    </dgm:pt>
    <dgm:pt modelId="{6150BA7F-796B-4E7D-B238-F10722D4B676}" type="parTrans" cxnId="{C4860ED6-CE33-4236-9F23-6109023044B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9DF7B4E-25F3-4EC4-B217-E6BEDD581EEC}" type="sibTrans" cxnId="{C4860ED6-CE33-4236-9F23-6109023044B8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352DFBF-AF70-4ED9-836B-AD27DA8B0129}">
      <dgm:prSet/>
      <dgm:spPr/>
      <dgm:t>
        <a:bodyPr/>
        <a:lstStyle/>
        <a:p>
          <a:pPr rtl="0"/>
          <a:r>
            <a:rPr lang="en-US" dirty="0"/>
            <a:t>Hospital credentialing papers and GME moonlighting approval must be obtained</a:t>
          </a:r>
        </a:p>
      </dgm:t>
    </dgm:pt>
    <dgm:pt modelId="{6EF5095D-D3B3-4221-91CF-6B0F8AE85534}" type="parTrans" cxnId="{2A2E10DC-7766-41D0-9A92-80A373DFD666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C42AAD59-6F85-4991-A895-33645E349B42}" type="sibTrans" cxnId="{2A2E10DC-7766-41D0-9A92-80A373DFD666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B1FC5E6-7F94-44DA-97E5-155BAD85349F}">
      <dgm:prSet/>
      <dgm:spPr/>
      <dgm:t>
        <a:bodyPr/>
        <a:lstStyle/>
        <a:p>
          <a:pPr rtl="0"/>
          <a:r>
            <a:rPr lang="en-US"/>
            <a:t>Prior to completion of 2136 required clinical hours: moonlight only at non training sites</a:t>
          </a:r>
          <a:endParaRPr lang="en-US" dirty="0"/>
        </a:p>
      </dgm:t>
    </dgm:pt>
    <dgm:pt modelId="{7E0C14D3-3625-4FC7-A846-86E0E48F11D3}" type="parTrans" cxnId="{7DDA2501-50ED-4CFE-B37C-6422E2658689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CF220BA-08A6-442A-AB9D-E3F804008DD6}" type="sibTrans" cxnId="{7DDA2501-50ED-4CFE-B37C-6422E2658689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23F36DC-2928-4314-88D8-DA03C5C857B4}">
      <dgm:prSet/>
      <dgm:spPr/>
      <dgm:t>
        <a:bodyPr/>
        <a:lstStyle/>
        <a:p>
          <a:pPr rtl="0"/>
          <a:r>
            <a:rPr lang="en-US"/>
            <a:t>After completion of 2136 hours, moonlight anywhere </a:t>
          </a:r>
          <a:endParaRPr lang="en-US" dirty="0"/>
        </a:p>
      </dgm:t>
    </dgm:pt>
    <dgm:pt modelId="{7BE8F323-22CA-465F-862E-0B561B759A68}" type="parTrans" cxnId="{0E19E24C-29DC-4FAC-BEC6-3B61443DF22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8B133A44-CAD8-412A-94D9-2520A699FDF1}" type="sibTrans" cxnId="{0E19E24C-29DC-4FAC-BEC6-3B61443DF22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CCC5E630-0CB9-46F9-9433-C2750956EC66}" type="pres">
      <dgm:prSet presAssocID="{2C41C615-E8EA-4A3D-B1EE-B493BFE3AA66}" presName="linear" presStyleCnt="0">
        <dgm:presLayoutVars>
          <dgm:animLvl val="lvl"/>
          <dgm:resizeHandles val="exact"/>
        </dgm:presLayoutVars>
      </dgm:prSet>
      <dgm:spPr/>
    </dgm:pt>
    <dgm:pt modelId="{43B0D3A2-96F0-40AA-8254-B550B4B00DC5}" type="pres">
      <dgm:prSet presAssocID="{DF60E4B7-F20B-4289-9062-F4FFAE3110B5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339746EE-D255-47E6-83C5-FB09322A4B79}" type="pres">
      <dgm:prSet presAssocID="{AEB51410-AEC8-4D28-94DE-93B138D00AFF}" presName="spacer" presStyleCnt="0"/>
      <dgm:spPr/>
    </dgm:pt>
    <dgm:pt modelId="{EAF70F22-72BC-4663-941B-23D2D50FE9B6}" type="pres">
      <dgm:prSet presAssocID="{25BE1078-A232-425B-9847-EE16ED8DC19B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0D1330AC-F00E-4781-BC10-C34F04C37FC6}" type="pres">
      <dgm:prSet presAssocID="{B9DF7B4E-25F3-4EC4-B217-E6BEDD581EEC}" presName="spacer" presStyleCnt="0"/>
      <dgm:spPr/>
    </dgm:pt>
    <dgm:pt modelId="{1FB515F5-AEB1-4772-B96D-BD47F4464C22}" type="pres">
      <dgm:prSet presAssocID="{5352DFBF-AF70-4ED9-836B-AD27DA8B0129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8FD7017C-F00F-468C-9AB7-D004E9502440}" type="pres">
      <dgm:prSet presAssocID="{C42AAD59-6F85-4991-A895-33645E349B42}" presName="spacer" presStyleCnt="0"/>
      <dgm:spPr/>
    </dgm:pt>
    <dgm:pt modelId="{D709E3EB-DBF1-4515-846A-10A4F740A216}" type="pres">
      <dgm:prSet presAssocID="{DB1FC5E6-7F94-44DA-97E5-155BAD85349F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DBDA1948-6C33-4798-A196-9F261CFE4185}" type="pres">
      <dgm:prSet presAssocID="{BCF220BA-08A6-442A-AB9D-E3F804008DD6}" presName="spacer" presStyleCnt="0"/>
      <dgm:spPr/>
    </dgm:pt>
    <dgm:pt modelId="{DCA2A9DD-42B1-4AB4-BF30-B2A748FC35A8}" type="pres">
      <dgm:prSet presAssocID="{B23F36DC-2928-4314-88D8-DA03C5C857B4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7DDA2501-50ED-4CFE-B37C-6422E2658689}" srcId="{2C41C615-E8EA-4A3D-B1EE-B493BFE3AA66}" destId="{DB1FC5E6-7F94-44DA-97E5-155BAD85349F}" srcOrd="3" destOrd="0" parTransId="{7E0C14D3-3625-4FC7-A846-86E0E48F11D3}" sibTransId="{BCF220BA-08A6-442A-AB9D-E3F804008DD6}"/>
    <dgm:cxn modelId="{075B762F-310F-47C6-AF50-186256F42CCC}" type="presOf" srcId="{B23F36DC-2928-4314-88D8-DA03C5C857B4}" destId="{DCA2A9DD-42B1-4AB4-BF30-B2A748FC35A8}" srcOrd="0" destOrd="0" presId="urn:microsoft.com/office/officeart/2005/8/layout/vList2"/>
    <dgm:cxn modelId="{4BD84048-AD94-41F9-A629-FD8C335BA65E}" type="presOf" srcId="{25BE1078-A232-425B-9847-EE16ED8DC19B}" destId="{EAF70F22-72BC-4663-941B-23D2D50FE9B6}" srcOrd="0" destOrd="0" presId="urn:microsoft.com/office/officeart/2005/8/layout/vList2"/>
    <dgm:cxn modelId="{0E19E24C-29DC-4FAC-BEC6-3B61443DF227}" srcId="{2C41C615-E8EA-4A3D-B1EE-B493BFE3AA66}" destId="{B23F36DC-2928-4314-88D8-DA03C5C857B4}" srcOrd="4" destOrd="0" parTransId="{7BE8F323-22CA-465F-862E-0B561B759A68}" sibTransId="{8B133A44-CAD8-412A-94D9-2520A699FDF1}"/>
    <dgm:cxn modelId="{8D2F9F4F-DAEA-4EA4-A52E-52F38E9CE416}" type="presOf" srcId="{DF60E4B7-F20B-4289-9062-F4FFAE3110B5}" destId="{43B0D3A2-96F0-40AA-8254-B550B4B00DC5}" srcOrd="0" destOrd="0" presId="urn:microsoft.com/office/officeart/2005/8/layout/vList2"/>
    <dgm:cxn modelId="{2D9A8352-5201-4E98-AD08-C221C87F92B6}" srcId="{2C41C615-E8EA-4A3D-B1EE-B493BFE3AA66}" destId="{DF60E4B7-F20B-4289-9062-F4FFAE3110B5}" srcOrd="0" destOrd="0" parTransId="{7E170869-9353-4DD4-ACB4-D6F39A4ADE27}" sibTransId="{AEB51410-AEC8-4D28-94DE-93B138D00AFF}"/>
    <dgm:cxn modelId="{6F396D60-43BB-4F74-BB55-9B71F274D33C}" type="presOf" srcId="{2C41C615-E8EA-4A3D-B1EE-B493BFE3AA66}" destId="{CCC5E630-0CB9-46F9-9433-C2750956EC66}" srcOrd="0" destOrd="0" presId="urn:microsoft.com/office/officeart/2005/8/layout/vList2"/>
    <dgm:cxn modelId="{E0D48388-8AD6-4E23-8C86-EC28C92BE1C7}" type="presOf" srcId="{DB1FC5E6-7F94-44DA-97E5-155BAD85349F}" destId="{D709E3EB-DBF1-4515-846A-10A4F740A216}" srcOrd="0" destOrd="0" presId="urn:microsoft.com/office/officeart/2005/8/layout/vList2"/>
    <dgm:cxn modelId="{C922D888-C33C-479B-9838-DCAB33DFCD9C}" type="presOf" srcId="{5352DFBF-AF70-4ED9-836B-AD27DA8B0129}" destId="{1FB515F5-AEB1-4772-B96D-BD47F4464C22}" srcOrd="0" destOrd="0" presId="urn:microsoft.com/office/officeart/2005/8/layout/vList2"/>
    <dgm:cxn modelId="{C4860ED6-CE33-4236-9F23-6109023044B8}" srcId="{2C41C615-E8EA-4A3D-B1EE-B493BFE3AA66}" destId="{25BE1078-A232-425B-9847-EE16ED8DC19B}" srcOrd="1" destOrd="0" parTransId="{6150BA7F-796B-4E7D-B238-F10722D4B676}" sibTransId="{B9DF7B4E-25F3-4EC4-B217-E6BEDD581EEC}"/>
    <dgm:cxn modelId="{2A2E10DC-7766-41D0-9A92-80A373DFD666}" srcId="{2C41C615-E8EA-4A3D-B1EE-B493BFE3AA66}" destId="{5352DFBF-AF70-4ED9-836B-AD27DA8B0129}" srcOrd="2" destOrd="0" parTransId="{6EF5095D-D3B3-4221-91CF-6B0F8AE85534}" sibTransId="{C42AAD59-6F85-4991-A895-33645E349B42}"/>
    <dgm:cxn modelId="{ECB08E7E-498D-4B10-A4CB-1E56B8830894}" type="presParOf" srcId="{CCC5E630-0CB9-46F9-9433-C2750956EC66}" destId="{43B0D3A2-96F0-40AA-8254-B550B4B00DC5}" srcOrd="0" destOrd="0" presId="urn:microsoft.com/office/officeart/2005/8/layout/vList2"/>
    <dgm:cxn modelId="{DA56F1E1-F604-4827-A3F4-D566125B03C0}" type="presParOf" srcId="{CCC5E630-0CB9-46F9-9433-C2750956EC66}" destId="{339746EE-D255-47E6-83C5-FB09322A4B79}" srcOrd="1" destOrd="0" presId="urn:microsoft.com/office/officeart/2005/8/layout/vList2"/>
    <dgm:cxn modelId="{9C7DDE81-C368-4E23-BD4E-DCE218C05904}" type="presParOf" srcId="{CCC5E630-0CB9-46F9-9433-C2750956EC66}" destId="{EAF70F22-72BC-4663-941B-23D2D50FE9B6}" srcOrd="2" destOrd="0" presId="urn:microsoft.com/office/officeart/2005/8/layout/vList2"/>
    <dgm:cxn modelId="{42F634B0-3CA5-4328-8C54-79FE7EBDAC5E}" type="presParOf" srcId="{CCC5E630-0CB9-46F9-9433-C2750956EC66}" destId="{0D1330AC-F00E-4781-BC10-C34F04C37FC6}" srcOrd="3" destOrd="0" presId="urn:microsoft.com/office/officeart/2005/8/layout/vList2"/>
    <dgm:cxn modelId="{AA7E371A-CDFE-468E-9BA4-D07F8D50C516}" type="presParOf" srcId="{CCC5E630-0CB9-46F9-9433-C2750956EC66}" destId="{1FB515F5-AEB1-4772-B96D-BD47F4464C22}" srcOrd="4" destOrd="0" presId="urn:microsoft.com/office/officeart/2005/8/layout/vList2"/>
    <dgm:cxn modelId="{DE4E69EA-2016-43C6-8405-13D4B8D45C2E}" type="presParOf" srcId="{CCC5E630-0CB9-46F9-9433-C2750956EC66}" destId="{8FD7017C-F00F-468C-9AB7-D004E9502440}" srcOrd="5" destOrd="0" presId="urn:microsoft.com/office/officeart/2005/8/layout/vList2"/>
    <dgm:cxn modelId="{CAC497EE-70EA-44A1-BC0D-7F3E1D090C57}" type="presParOf" srcId="{CCC5E630-0CB9-46F9-9433-C2750956EC66}" destId="{D709E3EB-DBF1-4515-846A-10A4F740A216}" srcOrd="6" destOrd="0" presId="urn:microsoft.com/office/officeart/2005/8/layout/vList2"/>
    <dgm:cxn modelId="{48D9DDAB-58CD-4B00-B172-856CF3CC154E}" type="presParOf" srcId="{CCC5E630-0CB9-46F9-9433-C2750956EC66}" destId="{DBDA1948-6C33-4798-A196-9F261CFE4185}" srcOrd="7" destOrd="0" presId="urn:microsoft.com/office/officeart/2005/8/layout/vList2"/>
    <dgm:cxn modelId="{8A67B076-094F-4E63-B108-984C075F56B9}" type="presParOf" srcId="{CCC5E630-0CB9-46F9-9433-C2750956EC66}" destId="{DCA2A9DD-42B1-4AB4-BF30-B2A748FC35A8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53135A9-4921-4DCB-96BD-3A21C36568BC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743C7A-B1F6-447E-96A9-78AD33953FF8}">
      <dgm:prSet/>
      <dgm:spPr/>
      <dgm:t>
        <a:bodyPr/>
        <a:lstStyle/>
        <a:p>
          <a:pPr rtl="0"/>
          <a:r>
            <a:rPr lang="en-US" b="1" dirty="0"/>
            <a:t>Main Campus</a:t>
          </a:r>
        </a:p>
      </dgm:t>
    </dgm:pt>
    <dgm:pt modelId="{956D7058-33B1-4E5A-ADBF-91AB475984C2}" type="parTrans" cxnId="{A41925C4-5C7D-4731-BEEB-7F1740A775CB}">
      <dgm:prSet/>
      <dgm:spPr/>
      <dgm:t>
        <a:bodyPr/>
        <a:lstStyle/>
        <a:p>
          <a:endParaRPr lang="en-US"/>
        </a:p>
      </dgm:t>
    </dgm:pt>
    <dgm:pt modelId="{8D43CF0C-DBC6-4248-9DF9-19C2925E3D58}" type="sibTrans" cxnId="{A41925C4-5C7D-4731-BEEB-7F1740A775CB}">
      <dgm:prSet/>
      <dgm:spPr/>
      <dgm:t>
        <a:bodyPr/>
        <a:lstStyle/>
        <a:p>
          <a:endParaRPr lang="en-US"/>
        </a:p>
      </dgm:t>
    </dgm:pt>
    <dgm:pt modelId="{9DDD93BC-E654-48A7-89B6-F586712CB835}">
      <dgm:prSet/>
      <dgm:spPr/>
      <dgm:t>
        <a:bodyPr/>
        <a:lstStyle/>
        <a:p>
          <a:pPr rtl="0"/>
          <a:r>
            <a:rPr lang="en-US" b="1" dirty="0"/>
            <a:t>750-bed children's hospital</a:t>
          </a:r>
        </a:p>
      </dgm:t>
    </dgm:pt>
    <dgm:pt modelId="{66608A10-CF20-4330-B1C4-0C7BE828E47A}" type="parTrans" cxnId="{8881E82B-F428-4157-A0E9-BEA279CACB56}">
      <dgm:prSet/>
      <dgm:spPr/>
      <dgm:t>
        <a:bodyPr/>
        <a:lstStyle/>
        <a:p>
          <a:endParaRPr lang="en-US"/>
        </a:p>
      </dgm:t>
    </dgm:pt>
    <dgm:pt modelId="{EF27DB7B-F83C-49FF-B80B-3D055B455087}" type="sibTrans" cxnId="{8881E82B-F428-4157-A0E9-BEA279CACB56}">
      <dgm:prSet/>
      <dgm:spPr/>
      <dgm:t>
        <a:bodyPr/>
        <a:lstStyle/>
        <a:p>
          <a:endParaRPr lang="en-US"/>
        </a:p>
      </dgm:t>
    </dgm:pt>
    <dgm:pt modelId="{870877CD-D648-46D4-9B57-4B4B8CD27217}">
      <dgm:prSet/>
      <dgm:spPr/>
      <dgm:t>
        <a:bodyPr/>
        <a:lstStyle/>
        <a:p>
          <a:pPr rtl="0"/>
          <a:r>
            <a:rPr lang="en-US" b="1" dirty="0"/>
            <a:t>Legacy Tower</a:t>
          </a:r>
        </a:p>
      </dgm:t>
    </dgm:pt>
    <dgm:pt modelId="{5E5F8088-6192-459C-ADE8-CFB1023688C2}" type="parTrans" cxnId="{34592162-0BB4-4897-A58B-D191FA66A88F}">
      <dgm:prSet/>
      <dgm:spPr/>
      <dgm:t>
        <a:bodyPr/>
        <a:lstStyle/>
        <a:p>
          <a:endParaRPr lang="en-US"/>
        </a:p>
      </dgm:t>
    </dgm:pt>
    <dgm:pt modelId="{FC2D5553-6E66-40A0-91C0-9A0604403F3E}" type="sibTrans" cxnId="{34592162-0BB4-4897-A58B-D191FA66A88F}">
      <dgm:prSet/>
      <dgm:spPr/>
      <dgm:t>
        <a:bodyPr/>
        <a:lstStyle/>
        <a:p>
          <a:endParaRPr lang="en-US"/>
        </a:p>
      </dgm:t>
    </dgm:pt>
    <dgm:pt modelId="{517C19B4-E613-45A2-B12A-0E285882DB48}">
      <dgm:prSet/>
      <dgm:spPr/>
      <dgm:t>
        <a:bodyPr/>
        <a:lstStyle/>
        <a:p>
          <a:pPr rtl="0"/>
          <a:r>
            <a:rPr lang="en-US" b="1"/>
            <a:t>Feigin Center for Pediatric Research</a:t>
          </a:r>
          <a:endParaRPr lang="en-US" b="1" dirty="0"/>
        </a:p>
      </dgm:t>
    </dgm:pt>
    <dgm:pt modelId="{B6285537-21F7-4818-BA06-7C3C4F46D4F4}" type="parTrans" cxnId="{4B693774-9E31-4FAE-80D5-F0CB458AAA0C}">
      <dgm:prSet/>
      <dgm:spPr/>
      <dgm:t>
        <a:bodyPr/>
        <a:lstStyle/>
        <a:p>
          <a:endParaRPr lang="en-US"/>
        </a:p>
      </dgm:t>
    </dgm:pt>
    <dgm:pt modelId="{1E3E1A0D-625D-4BF6-A369-C4923B195278}" type="sibTrans" cxnId="{4B693774-9E31-4FAE-80D5-F0CB458AAA0C}">
      <dgm:prSet/>
      <dgm:spPr/>
      <dgm:t>
        <a:bodyPr/>
        <a:lstStyle/>
        <a:p>
          <a:endParaRPr lang="en-US"/>
        </a:p>
      </dgm:t>
    </dgm:pt>
    <dgm:pt modelId="{BB351B5D-67BC-4CC3-846D-8DB4029AA37E}">
      <dgm:prSet/>
      <dgm:spPr/>
      <dgm:t>
        <a:bodyPr/>
        <a:lstStyle/>
        <a:p>
          <a:pPr rtl="0"/>
          <a:r>
            <a:rPr lang="en-US" b="1" dirty="0"/>
            <a:t>Pavilion for Women</a:t>
          </a:r>
        </a:p>
      </dgm:t>
    </dgm:pt>
    <dgm:pt modelId="{FB165141-5315-4F21-9529-1F40E367E65F}" type="parTrans" cxnId="{0F2A8C41-575A-47B4-AB04-BE32421FECB0}">
      <dgm:prSet/>
      <dgm:spPr/>
      <dgm:t>
        <a:bodyPr/>
        <a:lstStyle/>
        <a:p>
          <a:endParaRPr lang="en-US"/>
        </a:p>
      </dgm:t>
    </dgm:pt>
    <dgm:pt modelId="{DF48B5FD-2450-44D4-88C7-8B4C45D8A338}" type="sibTrans" cxnId="{0F2A8C41-575A-47B4-AB04-BE32421FECB0}">
      <dgm:prSet/>
      <dgm:spPr/>
      <dgm:t>
        <a:bodyPr/>
        <a:lstStyle/>
        <a:p>
          <a:endParaRPr lang="en-US"/>
        </a:p>
      </dgm:t>
    </dgm:pt>
    <dgm:pt modelId="{3FAD48FA-62A0-4ACD-BCDF-6D81C2979A53}">
      <dgm:prSet/>
      <dgm:spPr/>
      <dgm:t>
        <a:bodyPr/>
        <a:lstStyle/>
        <a:p>
          <a:pPr rtl="0"/>
          <a:r>
            <a:rPr lang="en-US" b="1" dirty="0"/>
            <a:t>Comprehensive obstetrics/gynecology facility focusing on high-risk births, fetal surgery</a:t>
          </a:r>
        </a:p>
      </dgm:t>
    </dgm:pt>
    <dgm:pt modelId="{0E44CCA3-A966-492E-9FBA-05EE5430BCC9}" type="parTrans" cxnId="{B51D84BD-D62F-46DA-A290-E0E14914CA17}">
      <dgm:prSet/>
      <dgm:spPr/>
      <dgm:t>
        <a:bodyPr/>
        <a:lstStyle/>
        <a:p>
          <a:endParaRPr lang="en-US"/>
        </a:p>
      </dgm:t>
    </dgm:pt>
    <dgm:pt modelId="{C91BE915-07EA-4F5B-999C-D7B46CF856A7}" type="sibTrans" cxnId="{B51D84BD-D62F-46DA-A290-E0E14914CA17}">
      <dgm:prSet/>
      <dgm:spPr/>
      <dgm:t>
        <a:bodyPr/>
        <a:lstStyle/>
        <a:p>
          <a:endParaRPr lang="en-US"/>
        </a:p>
      </dgm:t>
    </dgm:pt>
    <dgm:pt modelId="{C18086A9-1ED8-4519-B860-C644E60C0A73}">
      <dgm:prSet/>
      <dgm:spPr/>
      <dgm:t>
        <a:bodyPr/>
        <a:lstStyle/>
        <a:p>
          <a:pPr rtl="0"/>
          <a:r>
            <a:rPr lang="en-US" b="1" dirty="0"/>
            <a:t>West Campus</a:t>
          </a:r>
        </a:p>
      </dgm:t>
    </dgm:pt>
    <dgm:pt modelId="{EB6917EB-3ED5-4492-9AF2-AA46E093021E}" type="parTrans" cxnId="{B5110416-2ADF-44CB-97A1-29CBBE0B080A}">
      <dgm:prSet/>
      <dgm:spPr/>
      <dgm:t>
        <a:bodyPr/>
        <a:lstStyle/>
        <a:p>
          <a:endParaRPr lang="en-US"/>
        </a:p>
      </dgm:t>
    </dgm:pt>
    <dgm:pt modelId="{1983959E-DC44-4243-BA73-A2BB33BD236F}" type="sibTrans" cxnId="{B5110416-2ADF-44CB-97A1-29CBBE0B080A}">
      <dgm:prSet/>
      <dgm:spPr/>
      <dgm:t>
        <a:bodyPr/>
        <a:lstStyle/>
        <a:p>
          <a:endParaRPr lang="en-US"/>
        </a:p>
      </dgm:t>
    </dgm:pt>
    <dgm:pt modelId="{2B82341F-2623-44CA-B09A-BC68BA58256B}">
      <dgm:prSet/>
      <dgm:spPr/>
      <dgm:t>
        <a:bodyPr/>
        <a:lstStyle/>
        <a:p>
          <a:pPr rtl="0"/>
          <a:r>
            <a:rPr lang="en-US" b="1" dirty="0"/>
            <a:t>Community hospital in suburban West Houston</a:t>
          </a:r>
        </a:p>
      </dgm:t>
    </dgm:pt>
    <dgm:pt modelId="{B98A380F-B16E-4E2E-BF83-FDD76F41965B}" type="parTrans" cxnId="{792608A2-7231-4932-825A-405CF76E86EC}">
      <dgm:prSet/>
      <dgm:spPr/>
      <dgm:t>
        <a:bodyPr/>
        <a:lstStyle/>
        <a:p>
          <a:endParaRPr lang="en-US"/>
        </a:p>
      </dgm:t>
    </dgm:pt>
    <dgm:pt modelId="{D395FC3F-466F-4DDE-BEF0-AC7000C331B9}" type="sibTrans" cxnId="{792608A2-7231-4932-825A-405CF76E86EC}">
      <dgm:prSet/>
      <dgm:spPr/>
      <dgm:t>
        <a:bodyPr/>
        <a:lstStyle/>
        <a:p>
          <a:endParaRPr lang="en-US"/>
        </a:p>
      </dgm:t>
    </dgm:pt>
    <dgm:pt modelId="{1214927C-669D-436F-8983-404E5AE97E58}">
      <dgm:prSet/>
      <dgm:spPr/>
      <dgm:t>
        <a:bodyPr/>
        <a:lstStyle/>
        <a:p>
          <a:pPr rtl="0"/>
          <a:r>
            <a:rPr lang="en-US" b="1" dirty="0"/>
            <a:t>The Woodlands</a:t>
          </a:r>
        </a:p>
      </dgm:t>
    </dgm:pt>
    <dgm:pt modelId="{49F4A6F3-DF93-4CB3-95BC-D0B05CB0A8C8}" type="parTrans" cxnId="{445D9464-FC27-4CDB-9A98-9B37F9E338D3}">
      <dgm:prSet/>
      <dgm:spPr/>
      <dgm:t>
        <a:bodyPr/>
        <a:lstStyle/>
        <a:p>
          <a:endParaRPr lang="en-US"/>
        </a:p>
      </dgm:t>
    </dgm:pt>
    <dgm:pt modelId="{4AA229E6-3714-4FBF-BCBF-4D9618106D00}" type="sibTrans" cxnId="{445D9464-FC27-4CDB-9A98-9B37F9E338D3}">
      <dgm:prSet/>
      <dgm:spPr/>
      <dgm:t>
        <a:bodyPr/>
        <a:lstStyle/>
        <a:p>
          <a:endParaRPr lang="en-US"/>
        </a:p>
      </dgm:t>
    </dgm:pt>
    <dgm:pt modelId="{D4F4EC2A-5883-40FF-8CC9-8101D2D8260F}">
      <dgm:prSet/>
      <dgm:spPr/>
      <dgm:t>
        <a:bodyPr/>
        <a:lstStyle/>
        <a:p>
          <a:pPr rtl="0"/>
          <a:r>
            <a:rPr lang="en-US" b="1" dirty="0"/>
            <a:t>Community hospital in suburban North Houston</a:t>
          </a:r>
        </a:p>
      </dgm:t>
    </dgm:pt>
    <dgm:pt modelId="{C97A6DDE-1BDC-46F8-837D-217F09D64933}" type="parTrans" cxnId="{49481138-3690-4E40-9C6F-466B7968D372}">
      <dgm:prSet/>
      <dgm:spPr/>
      <dgm:t>
        <a:bodyPr/>
        <a:lstStyle/>
        <a:p>
          <a:endParaRPr lang="en-US"/>
        </a:p>
      </dgm:t>
    </dgm:pt>
    <dgm:pt modelId="{DD571544-E0D2-4DB5-8D72-F58F859EF99F}" type="sibTrans" cxnId="{49481138-3690-4E40-9C6F-466B7968D372}">
      <dgm:prSet/>
      <dgm:spPr/>
      <dgm:t>
        <a:bodyPr/>
        <a:lstStyle/>
        <a:p>
          <a:endParaRPr lang="en-US"/>
        </a:p>
      </dgm:t>
    </dgm:pt>
    <dgm:pt modelId="{6621C54E-0B73-42A5-B4A2-C6160B1462FD}">
      <dgm:prSet/>
      <dgm:spPr/>
      <dgm:t>
        <a:bodyPr/>
        <a:lstStyle/>
        <a:p>
          <a:pPr rtl="0"/>
          <a:r>
            <a:rPr lang="en-US" b="1" dirty="0"/>
            <a:t>9,053 annual inpatient and 16,216 outpatient surgeries</a:t>
          </a:r>
        </a:p>
      </dgm:t>
    </dgm:pt>
    <dgm:pt modelId="{4770E73C-E999-4550-B75C-8FBACE39F609}" type="parTrans" cxnId="{F9AD11D4-4065-4C60-97AA-14F3D3862FE5}">
      <dgm:prSet/>
      <dgm:spPr/>
      <dgm:t>
        <a:bodyPr/>
        <a:lstStyle/>
        <a:p>
          <a:endParaRPr lang="en-US"/>
        </a:p>
      </dgm:t>
    </dgm:pt>
    <dgm:pt modelId="{822E19EE-EEC7-4DA9-8D60-C12631EE070A}" type="sibTrans" cxnId="{F9AD11D4-4065-4C60-97AA-14F3D3862FE5}">
      <dgm:prSet/>
      <dgm:spPr/>
      <dgm:t>
        <a:bodyPr/>
        <a:lstStyle/>
        <a:p>
          <a:endParaRPr lang="en-US"/>
        </a:p>
      </dgm:t>
    </dgm:pt>
    <dgm:pt modelId="{B96E060E-2567-4214-A60D-F67A36D17E13}">
      <dgm:prSet/>
      <dgm:spPr/>
      <dgm:t>
        <a:bodyPr/>
        <a:lstStyle/>
        <a:p>
          <a:pPr rtl="0"/>
          <a:r>
            <a:rPr lang="en-US" b="1" dirty="0"/>
            <a:t>Critical care and surgical tower constructed in 2018</a:t>
          </a:r>
        </a:p>
      </dgm:t>
    </dgm:pt>
    <dgm:pt modelId="{D9A7A598-570A-443A-AFCF-F694061E2E8B}" type="parTrans" cxnId="{809C5CCF-42F2-4B93-A910-DC95560E19FF}">
      <dgm:prSet/>
      <dgm:spPr/>
      <dgm:t>
        <a:bodyPr/>
        <a:lstStyle/>
        <a:p>
          <a:endParaRPr lang="en-US"/>
        </a:p>
      </dgm:t>
    </dgm:pt>
    <dgm:pt modelId="{A3DD4B20-8DD0-4CAA-B2D1-F3C0A4BE8E52}" type="sibTrans" cxnId="{809C5CCF-42F2-4B93-A910-DC95560E19FF}">
      <dgm:prSet/>
      <dgm:spPr/>
      <dgm:t>
        <a:bodyPr/>
        <a:lstStyle/>
        <a:p>
          <a:endParaRPr lang="en-US"/>
        </a:p>
      </dgm:t>
    </dgm:pt>
    <dgm:pt modelId="{54AD8490-0496-4A5B-88F6-27BABBB26863}">
      <dgm:prSet/>
      <dgm:spPr/>
      <dgm:t>
        <a:bodyPr/>
        <a:lstStyle/>
        <a:p>
          <a:r>
            <a:rPr lang="en-US" b="1" dirty="0"/>
            <a:t>25,966 admissions in the most recent year</a:t>
          </a:r>
          <a:endParaRPr lang="en-US" dirty="0"/>
        </a:p>
      </dgm:t>
    </dgm:pt>
    <dgm:pt modelId="{89011B47-C3AC-43AD-9C2F-482D6A3DF294}" type="parTrans" cxnId="{C483F5CF-D2EB-4C19-9BE4-F61CBFFAC9F8}">
      <dgm:prSet/>
      <dgm:spPr/>
      <dgm:t>
        <a:bodyPr/>
        <a:lstStyle/>
        <a:p>
          <a:endParaRPr lang="en-US"/>
        </a:p>
      </dgm:t>
    </dgm:pt>
    <dgm:pt modelId="{3FE6C8CB-FE19-4BA5-BBAF-BAB2947D5F92}" type="sibTrans" cxnId="{C483F5CF-D2EB-4C19-9BE4-F61CBFFAC9F8}">
      <dgm:prSet/>
      <dgm:spPr/>
      <dgm:t>
        <a:bodyPr/>
        <a:lstStyle/>
        <a:p>
          <a:endParaRPr lang="en-US"/>
        </a:p>
      </dgm:t>
    </dgm:pt>
    <dgm:pt modelId="{C02067DF-9A92-4E12-86E3-824FDD9D4628}" type="pres">
      <dgm:prSet presAssocID="{453135A9-4921-4DCB-96BD-3A21C36568BC}" presName="Name0" presStyleCnt="0">
        <dgm:presLayoutVars>
          <dgm:dir/>
          <dgm:animLvl val="lvl"/>
          <dgm:resizeHandles val="exact"/>
        </dgm:presLayoutVars>
      </dgm:prSet>
      <dgm:spPr/>
    </dgm:pt>
    <dgm:pt modelId="{9ACD56CC-0D09-4467-8DE2-9D2B3E639AD5}" type="pres">
      <dgm:prSet presAssocID="{6F743C7A-B1F6-447E-96A9-78AD33953FF8}" presName="linNode" presStyleCnt="0"/>
      <dgm:spPr/>
    </dgm:pt>
    <dgm:pt modelId="{2D85E48D-2C90-4846-BC49-D078A30CD256}" type="pres">
      <dgm:prSet presAssocID="{6F743C7A-B1F6-447E-96A9-78AD33953FF8}" presName="parentText" presStyleLbl="node1" presStyleIdx="0" presStyleCnt="6">
        <dgm:presLayoutVars>
          <dgm:chMax val="1"/>
          <dgm:bulletEnabled val="1"/>
        </dgm:presLayoutVars>
      </dgm:prSet>
      <dgm:spPr/>
    </dgm:pt>
    <dgm:pt modelId="{F2A4CA07-4AC9-4066-9B0B-3063656C94C1}" type="pres">
      <dgm:prSet presAssocID="{6F743C7A-B1F6-447E-96A9-78AD33953FF8}" presName="descendantText" presStyleLbl="alignAccFollowNode1" presStyleIdx="0" presStyleCnt="5">
        <dgm:presLayoutVars>
          <dgm:bulletEnabled val="1"/>
        </dgm:presLayoutVars>
      </dgm:prSet>
      <dgm:spPr/>
    </dgm:pt>
    <dgm:pt modelId="{32D7997E-948F-4176-94C4-51D34E908996}" type="pres">
      <dgm:prSet presAssocID="{8D43CF0C-DBC6-4248-9DF9-19C2925E3D58}" presName="sp" presStyleCnt="0"/>
      <dgm:spPr/>
    </dgm:pt>
    <dgm:pt modelId="{4EF6F91A-4841-4215-B6F4-01B0A7714757}" type="pres">
      <dgm:prSet presAssocID="{BB351B5D-67BC-4CC3-846D-8DB4029AA37E}" presName="linNode" presStyleCnt="0"/>
      <dgm:spPr/>
    </dgm:pt>
    <dgm:pt modelId="{8E02DB11-6933-4AF4-A64F-09F892F85775}" type="pres">
      <dgm:prSet presAssocID="{BB351B5D-67BC-4CC3-846D-8DB4029AA37E}" presName="parentText" presStyleLbl="node1" presStyleIdx="1" presStyleCnt="6">
        <dgm:presLayoutVars>
          <dgm:chMax val="1"/>
          <dgm:bulletEnabled val="1"/>
        </dgm:presLayoutVars>
      </dgm:prSet>
      <dgm:spPr/>
    </dgm:pt>
    <dgm:pt modelId="{5F07C79F-C294-47C7-87A7-94CB1EC57DB4}" type="pres">
      <dgm:prSet presAssocID="{BB351B5D-67BC-4CC3-846D-8DB4029AA37E}" presName="descendantText" presStyleLbl="alignAccFollowNode1" presStyleIdx="1" presStyleCnt="5">
        <dgm:presLayoutVars>
          <dgm:bulletEnabled val="1"/>
        </dgm:presLayoutVars>
      </dgm:prSet>
      <dgm:spPr/>
    </dgm:pt>
    <dgm:pt modelId="{5C177A70-F890-4620-B4F7-53E481596065}" type="pres">
      <dgm:prSet presAssocID="{DF48B5FD-2450-44D4-88C7-8B4C45D8A338}" presName="sp" presStyleCnt="0"/>
      <dgm:spPr/>
    </dgm:pt>
    <dgm:pt modelId="{C90C7DA7-98F5-4687-83AA-6059961F23ED}" type="pres">
      <dgm:prSet presAssocID="{C18086A9-1ED8-4519-B860-C644E60C0A73}" presName="linNode" presStyleCnt="0"/>
      <dgm:spPr/>
    </dgm:pt>
    <dgm:pt modelId="{F5B8E85C-26C4-4C41-AC28-9B218897DA40}" type="pres">
      <dgm:prSet presAssocID="{C18086A9-1ED8-4519-B860-C644E60C0A73}" presName="parentText" presStyleLbl="node1" presStyleIdx="2" presStyleCnt="6">
        <dgm:presLayoutVars>
          <dgm:chMax val="1"/>
          <dgm:bulletEnabled val="1"/>
        </dgm:presLayoutVars>
      </dgm:prSet>
      <dgm:spPr/>
    </dgm:pt>
    <dgm:pt modelId="{7869C710-A024-4BE3-97A4-A68A7C6C5892}" type="pres">
      <dgm:prSet presAssocID="{C18086A9-1ED8-4519-B860-C644E60C0A73}" presName="descendantText" presStyleLbl="alignAccFollowNode1" presStyleIdx="2" presStyleCnt="5">
        <dgm:presLayoutVars>
          <dgm:bulletEnabled val="1"/>
        </dgm:presLayoutVars>
      </dgm:prSet>
      <dgm:spPr/>
    </dgm:pt>
    <dgm:pt modelId="{FB94E30E-7DD7-45E9-BD3F-634B599FD3E3}" type="pres">
      <dgm:prSet presAssocID="{1983959E-DC44-4243-BA73-A2BB33BD236F}" presName="sp" presStyleCnt="0"/>
      <dgm:spPr/>
    </dgm:pt>
    <dgm:pt modelId="{7EB2C2AC-F702-4099-8CEC-0DD34A4F4AD0}" type="pres">
      <dgm:prSet presAssocID="{1214927C-669D-436F-8983-404E5AE97E58}" presName="linNode" presStyleCnt="0"/>
      <dgm:spPr/>
    </dgm:pt>
    <dgm:pt modelId="{060CCD14-AFB0-4DBA-B4FB-9D05675DBE43}" type="pres">
      <dgm:prSet presAssocID="{1214927C-669D-436F-8983-404E5AE97E58}" presName="parentText" presStyleLbl="node1" presStyleIdx="3" presStyleCnt="6">
        <dgm:presLayoutVars>
          <dgm:chMax val="1"/>
          <dgm:bulletEnabled val="1"/>
        </dgm:presLayoutVars>
      </dgm:prSet>
      <dgm:spPr/>
    </dgm:pt>
    <dgm:pt modelId="{77E99506-5F26-489B-B6FA-3F56C3CA4C80}" type="pres">
      <dgm:prSet presAssocID="{1214927C-669D-436F-8983-404E5AE97E58}" presName="descendantText" presStyleLbl="alignAccFollowNode1" presStyleIdx="3" presStyleCnt="5">
        <dgm:presLayoutVars>
          <dgm:bulletEnabled val="1"/>
        </dgm:presLayoutVars>
      </dgm:prSet>
      <dgm:spPr/>
    </dgm:pt>
    <dgm:pt modelId="{082AE95A-F21A-470B-AC7D-BF9AAB0F1DF0}" type="pres">
      <dgm:prSet presAssocID="{4AA229E6-3714-4FBF-BCBF-4D9618106D00}" presName="sp" presStyleCnt="0"/>
      <dgm:spPr/>
    </dgm:pt>
    <dgm:pt modelId="{B5D5D03F-257A-4B89-AFCB-117B33837263}" type="pres">
      <dgm:prSet presAssocID="{870877CD-D648-46D4-9B57-4B4B8CD27217}" presName="linNode" presStyleCnt="0"/>
      <dgm:spPr/>
    </dgm:pt>
    <dgm:pt modelId="{60AF01A4-78BD-4C5B-B1EC-7E6DB904E8E2}" type="pres">
      <dgm:prSet presAssocID="{870877CD-D648-46D4-9B57-4B4B8CD27217}" presName="parentText" presStyleLbl="node1" presStyleIdx="4" presStyleCnt="6">
        <dgm:presLayoutVars>
          <dgm:chMax val="1"/>
          <dgm:bulletEnabled val="1"/>
        </dgm:presLayoutVars>
      </dgm:prSet>
      <dgm:spPr/>
    </dgm:pt>
    <dgm:pt modelId="{DAC9A94B-1E6C-4C94-9B01-542A07185B2F}" type="pres">
      <dgm:prSet presAssocID="{870877CD-D648-46D4-9B57-4B4B8CD27217}" presName="descendantText" presStyleLbl="alignAccFollowNode1" presStyleIdx="4" presStyleCnt="5">
        <dgm:presLayoutVars>
          <dgm:bulletEnabled val="1"/>
        </dgm:presLayoutVars>
      </dgm:prSet>
      <dgm:spPr/>
    </dgm:pt>
    <dgm:pt modelId="{363E70F7-7826-4A27-BCCC-F9844D6E9FE6}" type="pres">
      <dgm:prSet presAssocID="{FC2D5553-6E66-40A0-91C0-9A0604403F3E}" presName="sp" presStyleCnt="0"/>
      <dgm:spPr/>
    </dgm:pt>
    <dgm:pt modelId="{AF5EA6D8-446D-4056-B5D2-C9CFF09E651D}" type="pres">
      <dgm:prSet presAssocID="{517C19B4-E613-45A2-B12A-0E285882DB48}" presName="linNode" presStyleCnt="0"/>
      <dgm:spPr/>
    </dgm:pt>
    <dgm:pt modelId="{4099DCBA-7D54-40A7-A36D-D95CCF40EE49}" type="pres">
      <dgm:prSet presAssocID="{517C19B4-E613-45A2-B12A-0E285882DB48}" presName="parentText" presStyleLbl="node1" presStyleIdx="5" presStyleCnt="6">
        <dgm:presLayoutVars>
          <dgm:chMax val="1"/>
          <dgm:bulletEnabled val="1"/>
        </dgm:presLayoutVars>
      </dgm:prSet>
      <dgm:spPr/>
    </dgm:pt>
  </dgm:ptLst>
  <dgm:cxnLst>
    <dgm:cxn modelId="{B5110416-2ADF-44CB-97A1-29CBBE0B080A}" srcId="{453135A9-4921-4DCB-96BD-3A21C36568BC}" destId="{C18086A9-1ED8-4519-B860-C644E60C0A73}" srcOrd="2" destOrd="0" parTransId="{EB6917EB-3ED5-4492-9AF2-AA46E093021E}" sibTransId="{1983959E-DC44-4243-BA73-A2BB33BD236F}"/>
    <dgm:cxn modelId="{8881E82B-F428-4157-A0E9-BEA279CACB56}" srcId="{6F743C7A-B1F6-447E-96A9-78AD33953FF8}" destId="{9DDD93BC-E654-48A7-89B6-F586712CB835}" srcOrd="0" destOrd="0" parTransId="{66608A10-CF20-4330-B1C4-0C7BE828E47A}" sibTransId="{EF27DB7B-F83C-49FF-B80B-3D055B455087}"/>
    <dgm:cxn modelId="{15D4E434-DCAC-4F13-B0B6-E70A6F05171E}" type="presOf" srcId="{C18086A9-1ED8-4519-B860-C644E60C0A73}" destId="{F5B8E85C-26C4-4C41-AC28-9B218897DA40}" srcOrd="0" destOrd="0" presId="urn:microsoft.com/office/officeart/2005/8/layout/vList5"/>
    <dgm:cxn modelId="{8B8CC135-A9DD-4FFE-A798-01DF398DECAC}" type="presOf" srcId="{3FAD48FA-62A0-4ACD-BCDF-6D81C2979A53}" destId="{5F07C79F-C294-47C7-87A7-94CB1EC57DB4}" srcOrd="0" destOrd="0" presId="urn:microsoft.com/office/officeart/2005/8/layout/vList5"/>
    <dgm:cxn modelId="{49481138-3690-4E40-9C6F-466B7968D372}" srcId="{1214927C-669D-436F-8983-404E5AE97E58}" destId="{D4F4EC2A-5883-40FF-8CC9-8101D2D8260F}" srcOrd="0" destOrd="0" parTransId="{C97A6DDE-1BDC-46F8-837D-217F09D64933}" sibTransId="{DD571544-E0D2-4DB5-8D72-F58F859EF99F}"/>
    <dgm:cxn modelId="{EA02D03D-A397-45B4-85F5-2DADD968836C}" type="presOf" srcId="{2B82341F-2623-44CA-B09A-BC68BA58256B}" destId="{7869C710-A024-4BE3-97A4-A68A7C6C5892}" srcOrd="0" destOrd="0" presId="urn:microsoft.com/office/officeart/2005/8/layout/vList5"/>
    <dgm:cxn modelId="{0F2A8C41-575A-47B4-AB04-BE32421FECB0}" srcId="{453135A9-4921-4DCB-96BD-3A21C36568BC}" destId="{BB351B5D-67BC-4CC3-846D-8DB4029AA37E}" srcOrd="1" destOrd="0" parTransId="{FB165141-5315-4F21-9529-1F40E367E65F}" sibTransId="{DF48B5FD-2450-44D4-88C7-8B4C45D8A338}"/>
    <dgm:cxn modelId="{0690A656-CE92-4C87-B556-671626EEDBAB}" type="presOf" srcId="{517C19B4-E613-45A2-B12A-0E285882DB48}" destId="{4099DCBA-7D54-40A7-A36D-D95CCF40EE49}" srcOrd="0" destOrd="0" presId="urn:microsoft.com/office/officeart/2005/8/layout/vList5"/>
    <dgm:cxn modelId="{34592162-0BB4-4897-A58B-D191FA66A88F}" srcId="{453135A9-4921-4DCB-96BD-3A21C36568BC}" destId="{870877CD-D648-46D4-9B57-4B4B8CD27217}" srcOrd="4" destOrd="0" parTransId="{5E5F8088-6192-459C-ADE8-CFB1023688C2}" sibTransId="{FC2D5553-6E66-40A0-91C0-9A0604403F3E}"/>
    <dgm:cxn modelId="{445D9464-FC27-4CDB-9A98-9B37F9E338D3}" srcId="{453135A9-4921-4DCB-96BD-3A21C36568BC}" destId="{1214927C-669D-436F-8983-404E5AE97E58}" srcOrd="3" destOrd="0" parTransId="{49F4A6F3-DF93-4CB3-95BC-D0B05CB0A8C8}" sibTransId="{4AA229E6-3714-4FBF-BCBF-4D9618106D00}"/>
    <dgm:cxn modelId="{FBDC0F6C-9AB2-4ACB-A9E1-DF29E520CB6B}" type="presOf" srcId="{6621C54E-0B73-42A5-B4A2-C6160B1462FD}" destId="{F2A4CA07-4AC9-4066-9B0B-3063656C94C1}" srcOrd="0" destOrd="2" presId="urn:microsoft.com/office/officeart/2005/8/layout/vList5"/>
    <dgm:cxn modelId="{4B693774-9E31-4FAE-80D5-F0CB458AAA0C}" srcId="{453135A9-4921-4DCB-96BD-3A21C36568BC}" destId="{517C19B4-E613-45A2-B12A-0E285882DB48}" srcOrd="5" destOrd="0" parTransId="{B6285537-21F7-4818-BA06-7C3C4F46D4F4}" sibTransId="{1E3E1A0D-625D-4BF6-A369-C4923B195278}"/>
    <dgm:cxn modelId="{BE55BF83-CAC8-4959-84D8-9BA497882889}" type="presOf" srcId="{6F743C7A-B1F6-447E-96A9-78AD33953FF8}" destId="{2D85E48D-2C90-4846-BC49-D078A30CD256}" srcOrd="0" destOrd="0" presId="urn:microsoft.com/office/officeart/2005/8/layout/vList5"/>
    <dgm:cxn modelId="{33073E93-C4DF-4E9B-B001-96A15005B73A}" type="presOf" srcId="{9DDD93BC-E654-48A7-89B6-F586712CB835}" destId="{F2A4CA07-4AC9-4066-9B0B-3063656C94C1}" srcOrd="0" destOrd="0" presId="urn:microsoft.com/office/officeart/2005/8/layout/vList5"/>
    <dgm:cxn modelId="{93843994-6C6D-4FBA-BA12-0A322822CEFD}" type="presOf" srcId="{870877CD-D648-46D4-9B57-4B4B8CD27217}" destId="{60AF01A4-78BD-4C5B-B1EC-7E6DB904E8E2}" srcOrd="0" destOrd="0" presId="urn:microsoft.com/office/officeart/2005/8/layout/vList5"/>
    <dgm:cxn modelId="{792608A2-7231-4932-825A-405CF76E86EC}" srcId="{C18086A9-1ED8-4519-B860-C644E60C0A73}" destId="{2B82341F-2623-44CA-B09A-BC68BA58256B}" srcOrd="0" destOrd="0" parTransId="{B98A380F-B16E-4E2E-BF83-FDD76F41965B}" sibTransId="{D395FC3F-466F-4DDE-BEF0-AC7000C331B9}"/>
    <dgm:cxn modelId="{FA06B3A3-FDBE-48E3-86DE-26605CF68563}" type="presOf" srcId="{54AD8490-0496-4A5B-88F6-27BABBB26863}" destId="{F2A4CA07-4AC9-4066-9B0B-3063656C94C1}" srcOrd="0" destOrd="1" presId="urn:microsoft.com/office/officeart/2005/8/layout/vList5"/>
    <dgm:cxn modelId="{D989ABAE-5175-4D6F-8C87-CFCA084AB301}" type="presOf" srcId="{D4F4EC2A-5883-40FF-8CC9-8101D2D8260F}" destId="{77E99506-5F26-489B-B6FA-3F56C3CA4C80}" srcOrd="0" destOrd="0" presId="urn:microsoft.com/office/officeart/2005/8/layout/vList5"/>
    <dgm:cxn modelId="{5937DCBC-D155-45A2-98B1-864D3197EF04}" type="presOf" srcId="{1214927C-669D-436F-8983-404E5AE97E58}" destId="{060CCD14-AFB0-4DBA-B4FB-9D05675DBE43}" srcOrd="0" destOrd="0" presId="urn:microsoft.com/office/officeart/2005/8/layout/vList5"/>
    <dgm:cxn modelId="{B51D84BD-D62F-46DA-A290-E0E14914CA17}" srcId="{BB351B5D-67BC-4CC3-846D-8DB4029AA37E}" destId="{3FAD48FA-62A0-4ACD-BCDF-6D81C2979A53}" srcOrd="0" destOrd="0" parTransId="{0E44CCA3-A966-492E-9FBA-05EE5430BCC9}" sibTransId="{C91BE915-07EA-4F5B-999C-D7B46CF856A7}"/>
    <dgm:cxn modelId="{A41925C4-5C7D-4731-BEEB-7F1740A775CB}" srcId="{453135A9-4921-4DCB-96BD-3A21C36568BC}" destId="{6F743C7A-B1F6-447E-96A9-78AD33953FF8}" srcOrd="0" destOrd="0" parTransId="{956D7058-33B1-4E5A-ADBF-91AB475984C2}" sibTransId="{8D43CF0C-DBC6-4248-9DF9-19C2925E3D58}"/>
    <dgm:cxn modelId="{809C5CCF-42F2-4B93-A910-DC95560E19FF}" srcId="{870877CD-D648-46D4-9B57-4B4B8CD27217}" destId="{B96E060E-2567-4214-A60D-F67A36D17E13}" srcOrd="0" destOrd="0" parTransId="{D9A7A598-570A-443A-AFCF-F694061E2E8B}" sibTransId="{A3DD4B20-8DD0-4CAA-B2D1-F3C0A4BE8E52}"/>
    <dgm:cxn modelId="{C483F5CF-D2EB-4C19-9BE4-F61CBFFAC9F8}" srcId="{6F743C7A-B1F6-447E-96A9-78AD33953FF8}" destId="{54AD8490-0496-4A5B-88F6-27BABBB26863}" srcOrd="1" destOrd="0" parTransId="{89011B47-C3AC-43AD-9C2F-482D6A3DF294}" sibTransId="{3FE6C8CB-FE19-4BA5-BBAF-BAB2947D5F92}"/>
    <dgm:cxn modelId="{8F7DAAD2-3536-485C-8F3D-139C1F484994}" type="presOf" srcId="{BB351B5D-67BC-4CC3-846D-8DB4029AA37E}" destId="{8E02DB11-6933-4AF4-A64F-09F892F85775}" srcOrd="0" destOrd="0" presId="urn:microsoft.com/office/officeart/2005/8/layout/vList5"/>
    <dgm:cxn modelId="{F9AD11D4-4065-4C60-97AA-14F3D3862FE5}" srcId="{6F743C7A-B1F6-447E-96A9-78AD33953FF8}" destId="{6621C54E-0B73-42A5-B4A2-C6160B1462FD}" srcOrd="2" destOrd="0" parTransId="{4770E73C-E999-4550-B75C-8FBACE39F609}" sibTransId="{822E19EE-EEC7-4DA9-8D60-C12631EE070A}"/>
    <dgm:cxn modelId="{385515F1-35ED-4C9A-BA2E-0EF051B58AF5}" type="presOf" srcId="{453135A9-4921-4DCB-96BD-3A21C36568BC}" destId="{C02067DF-9A92-4E12-86E3-824FDD9D4628}" srcOrd="0" destOrd="0" presId="urn:microsoft.com/office/officeart/2005/8/layout/vList5"/>
    <dgm:cxn modelId="{6B15A2F1-E9BA-426A-B7BB-C7AE1C297A77}" type="presOf" srcId="{B96E060E-2567-4214-A60D-F67A36D17E13}" destId="{DAC9A94B-1E6C-4C94-9B01-542A07185B2F}" srcOrd="0" destOrd="0" presId="urn:microsoft.com/office/officeart/2005/8/layout/vList5"/>
    <dgm:cxn modelId="{4A616391-2A45-4934-B24A-9327A3B4DA7E}" type="presParOf" srcId="{C02067DF-9A92-4E12-86E3-824FDD9D4628}" destId="{9ACD56CC-0D09-4467-8DE2-9D2B3E639AD5}" srcOrd="0" destOrd="0" presId="urn:microsoft.com/office/officeart/2005/8/layout/vList5"/>
    <dgm:cxn modelId="{EC79DCC3-010A-41C7-9FED-41942A460237}" type="presParOf" srcId="{9ACD56CC-0D09-4467-8DE2-9D2B3E639AD5}" destId="{2D85E48D-2C90-4846-BC49-D078A30CD256}" srcOrd="0" destOrd="0" presId="urn:microsoft.com/office/officeart/2005/8/layout/vList5"/>
    <dgm:cxn modelId="{4FEC8CC9-F1CE-40FE-A7E8-4BC9E522A80B}" type="presParOf" srcId="{9ACD56CC-0D09-4467-8DE2-9D2B3E639AD5}" destId="{F2A4CA07-4AC9-4066-9B0B-3063656C94C1}" srcOrd="1" destOrd="0" presId="urn:microsoft.com/office/officeart/2005/8/layout/vList5"/>
    <dgm:cxn modelId="{9572661B-88FF-4517-88FC-0563E5E7E4DA}" type="presParOf" srcId="{C02067DF-9A92-4E12-86E3-824FDD9D4628}" destId="{32D7997E-948F-4176-94C4-51D34E908996}" srcOrd="1" destOrd="0" presId="urn:microsoft.com/office/officeart/2005/8/layout/vList5"/>
    <dgm:cxn modelId="{6BBB5E5B-48CC-4FBB-A4C7-0C3705C08A38}" type="presParOf" srcId="{C02067DF-9A92-4E12-86E3-824FDD9D4628}" destId="{4EF6F91A-4841-4215-B6F4-01B0A7714757}" srcOrd="2" destOrd="0" presId="urn:microsoft.com/office/officeart/2005/8/layout/vList5"/>
    <dgm:cxn modelId="{C049D778-EBAB-4546-A839-6F4EEC34BBA8}" type="presParOf" srcId="{4EF6F91A-4841-4215-B6F4-01B0A7714757}" destId="{8E02DB11-6933-4AF4-A64F-09F892F85775}" srcOrd="0" destOrd="0" presId="urn:microsoft.com/office/officeart/2005/8/layout/vList5"/>
    <dgm:cxn modelId="{70CC0AA1-9B8E-4A37-8762-8EABCCD52D96}" type="presParOf" srcId="{4EF6F91A-4841-4215-B6F4-01B0A7714757}" destId="{5F07C79F-C294-47C7-87A7-94CB1EC57DB4}" srcOrd="1" destOrd="0" presId="urn:microsoft.com/office/officeart/2005/8/layout/vList5"/>
    <dgm:cxn modelId="{8C8E9078-2643-4DB6-BD04-A9DD34098A6F}" type="presParOf" srcId="{C02067DF-9A92-4E12-86E3-824FDD9D4628}" destId="{5C177A70-F890-4620-B4F7-53E481596065}" srcOrd="3" destOrd="0" presId="urn:microsoft.com/office/officeart/2005/8/layout/vList5"/>
    <dgm:cxn modelId="{67DAA4C6-D48A-405D-84B3-A1048275673B}" type="presParOf" srcId="{C02067DF-9A92-4E12-86E3-824FDD9D4628}" destId="{C90C7DA7-98F5-4687-83AA-6059961F23ED}" srcOrd="4" destOrd="0" presId="urn:microsoft.com/office/officeart/2005/8/layout/vList5"/>
    <dgm:cxn modelId="{1247B15E-C575-48CA-85B5-3F3552C41005}" type="presParOf" srcId="{C90C7DA7-98F5-4687-83AA-6059961F23ED}" destId="{F5B8E85C-26C4-4C41-AC28-9B218897DA40}" srcOrd="0" destOrd="0" presId="urn:microsoft.com/office/officeart/2005/8/layout/vList5"/>
    <dgm:cxn modelId="{47777C3B-7BCD-449B-8114-F48DA4307FA6}" type="presParOf" srcId="{C90C7DA7-98F5-4687-83AA-6059961F23ED}" destId="{7869C710-A024-4BE3-97A4-A68A7C6C5892}" srcOrd="1" destOrd="0" presId="urn:microsoft.com/office/officeart/2005/8/layout/vList5"/>
    <dgm:cxn modelId="{56D0074E-6DBE-44C6-96A5-B44BF8845512}" type="presParOf" srcId="{C02067DF-9A92-4E12-86E3-824FDD9D4628}" destId="{FB94E30E-7DD7-45E9-BD3F-634B599FD3E3}" srcOrd="5" destOrd="0" presId="urn:microsoft.com/office/officeart/2005/8/layout/vList5"/>
    <dgm:cxn modelId="{30EC697D-7317-4B1C-99AB-93E72F79DAF7}" type="presParOf" srcId="{C02067DF-9A92-4E12-86E3-824FDD9D4628}" destId="{7EB2C2AC-F702-4099-8CEC-0DD34A4F4AD0}" srcOrd="6" destOrd="0" presId="urn:microsoft.com/office/officeart/2005/8/layout/vList5"/>
    <dgm:cxn modelId="{B22790DE-2A62-4919-A206-680C3B3A72B6}" type="presParOf" srcId="{7EB2C2AC-F702-4099-8CEC-0DD34A4F4AD0}" destId="{060CCD14-AFB0-4DBA-B4FB-9D05675DBE43}" srcOrd="0" destOrd="0" presId="urn:microsoft.com/office/officeart/2005/8/layout/vList5"/>
    <dgm:cxn modelId="{E7BC4677-BC3A-4929-9A74-9D11D8027367}" type="presParOf" srcId="{7EB2C2AC-F702-4099-8CEC-0DD34A4F4AD0}" destId="{77E99506-5F26-489B-B6FA-3F56C3CA4C80}" srcOrd="1" destOrd="0" presId="urn:microsoft.com/office/officeart/2005/8/layout/vList5"/>
    <dgm:cxn modelId="{3B438EFF-3EF7-4F98-B076-23D83C3DFBE9}" type="presParOf" srcId="{C02067DF-9A92-4E12-86E3-824FDD9D4628}" destId="{082AE95A-F21A-470B-AC7D-BF9AAB0F1DF0}" srcOrd="7" destOrd="0" presId="urn:microsoft.com/office/officeart/2005/8/layout/vList5"/>
    <dgm:cxn modelId="{B278DE90-6AD4-4ED4-BCE5-101680F50D5C}" type="presParOf" srcId="{C02067DF-9A92-4E12-86E3-824FDD9D4628}" destId="{B5D5D03F-257A-4B89-AFCB-117B33837263}" srcOrd="8" destOrd="0" presId="urn:microsoft.com/office/officeart/2005/8/layout/vList5"/>
    <dgm:cxn modelId="{4AB54FC4-2D30-4933-9EE1-41185787847B}" type="presParOf" srcId="{B5D5D03F-257A-4B89-AFCB-117B33837263}" destId="{60AF01A4-78BD-4C5B-B1EC-7E6DB904E8E2}" srcOrd="0" destOrd="0" presId="urn:microsoft.com/office/officeart/2005/8/layout/vList5"/>
    <dgm:cxn modelId="{FB8EEBF1-3387-4627-A609-FA6681AB527A}" type="presParOf" srcId="{B5D5D03F-257A-4B89-AFCB-117B33837263}" destId="{DAC9A94B-1E6C-4C94-9B01-542A07185B2F}" srcOrd="1" destOrd="0" presId="urn:microsoft.com/office/officeart/2005/8/layout/vList5"/>
    <dgm:cxn modelId="{1C66E8F3-D262-4BC5-834A-6EAD7478880A}" type="presParOf" srcId="{C02067DF-9A92-4E12-86E3-824FDD9D4628}" destId="{363E70F7-7826-4A27-BCCC-F9844D6E9FE6}" srcOrd="9" destOrd="0" presId="urn:microsoft.com/office/officeart/2005/8/layout/vList5"/>
    <dgm:cxn modelId="{42DC286F-3407-43FA-98EB-A5E06E9F0967}" type="presParOf" srcId="{C02067DF-9A92-4E12-86E3-824FDD9D4628}" destId="{AF5EA6D8-446D-4056-B5D2-C9CFF09E651D}" srcOrd="10" destOrd="0" presId="urn:microsoft.com/office/officeart/2005/8/layout/vList5"/>
    <dgm:cxn modelId="{425ACE04-6F56-4A53-AFEF-97A9BEFF8E14}" type="presParOf" srcId="{AF5EA6D8-446D-4056-B5D2-C9CFF09E651D}" destId="{4099DCBA-7D54-40A7-A36D-D95CCF40EE49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3037EDD-E824-4C0B-B05C-EF229F5BD64B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3619033-D9A9-42B9-BEF0-FC9F1F19A12A}">
      <dgm:prSet custT="1"/>
      <dgm:spPr/>
      <dgm:t>
        <a:bodyPr/>
        <a:lstStyle/>
        <a:p>
          <a:pPr rtl="0"/>
          <a:r>
            <a:rPr lang="en-US" sz="2000" b="1" dirty="0"/>
            <a:t>Main Fellowship Training Site</a:t>
          </a:r>
        </a:p>
      </dgm:t>
    </dgm:pt>
    <dgm:pt modelId="{B97B9252-C457-4D0B-B27D-492B4A80E7BD}" type="parTrans" cxnId="{6E1FB7F4-F9F9-4E48-85B5-E51C5051B62C}">
      <dgm:prSet/>
      <dgm:spPr/>
      <dgm:t>
        <a:bodyPr/>
        <a:lstStyle/>
        <a:p>
          <a:endParaRPr lang="en-US" b="1"/>
        </a:p>
      </dgm:t>
    </dgm:pt>
    <dgm:pt modelId="{3EFBCF19-0A14-43BB-A45D-91062F8333B5}" type="sibTrans" cxnId="{6E1FB7F4-F9F9-4E48-85B5-E51C5051B62C}">
      <dgm:prSet/>
      <dgm:spPr/>
      <dgm:t>
        <a:bodyPr/>
        <a:lstStyle/>
        <a:p>
          <a:endParaRPr lang="en-US" b="1"/>
        </a:p>
      </dgm:t>
    </dgm:pt>
    <dgm:pt modelId="{975D9D82-2957-47B6-88DC-C85E22B06396}">
      <dgm:prSet custT="1"/>
      <dgm:spPr/>
      <dgm:t>
        <a:bodyPr/>
        <a:lstStyle/>
        <a:p>
          <a:pPr rtl="0"/>
          <a:r>
            <a:rPr lang="en-US" sz="1800" b="1" dirty="0"/>
            <a:t>    </a:t>
          </a:r>
          <a:r>
            <a:rPr lang="en-US" sz="2400" b="1" dirty="0"/>
            <a:t>Emergency Center</a:t>
          </a:r>
        </a:p>
      </dgm:t>
    </dgm:pt>
    <dgm:pt modelId="{DFA8033A-52D9-44AF-9CBB-59EE2512DF7A}" type="parTrans" cxnId="{0B88B1CD-5BA6-433B-B988-56B15AFC16F9}">
      <dgm:prSet/>
      <dgm:spPr/>
      <dgm:t>
        <a:bodyPr/>
        <a:lstStyle/>
        <a:p>
          <a:endParaRPr lang="en-US" b="1"/>
        </a:p>
      </dgm:t>
    </dgm:pt>
    <dgm:pt modelId="{1146A026-22CA-4759-A7B2-D4BE4BF40A53}" type="sibTrans" cxnId="{0B88B1CD-5BA6-433B-B988-56B15AFC16F9}">
      <dgm:prSet/>
      <dgm:spPr/>
      <dgm:t>
        <a:bodyPr/>
        <a:lstStyle/>
        <a:p>
          <a:endParaRPr lang="en-US" b="1"/>
        </a:p>
      </dgm:t>
    </dgm:pt>
    <dgm:pt modelId="{D50C0F8B-19CE-4295-8DC4-0B805606FDF8}">
      <dgm:prSet custT="1"/>
      <dgm:spPr/>
      <dgm:t>
        <a:bodyPr/>
        <a:lstStyle/>
        <a:p>
          <a:pPr rtl="0"/>
          <a:r>
            <a:rPr lang="pt-BR" sz="1400" b="1" dirty="0"/>
            <a:t>Level 1 pediatric trauma center</a:t>
          </a:r>
          <a:endParaRPr lang="en-US" sz="1400" b="1" dirty="0"/>
        </a:p>
      </dgm:t>
    </dgm:pt>
    <dgm:pt modelId="{ED366B32-E4E1-4629-AF6D-F7E3EEA50BFB}" type="parTrans" cxnId="{7252ADDB-CF83-40A3-BE09-06F11E44D40C}">
      <dgm:prSet/>
      <dgm:spPr/>
      <dgm:t>
        <a:bodyPr/>
        <a:lstStyle/>
        <a:p>
          <a:endParaRPr lang="en-US" b="1"/>
        </a:p>
      </dgm:t>
    </dgm:pt>
    <dgm:pt modelId="{9D054E10-3E87-4E6D-B8EB-BFE8C2B5522A}" type="sibTrans" cxnId="{7252ADDB-CF83-40A3-BE09-06F11E44D40C}">
      <dgm:prSet/>
      <dgm:spPr/>
      <dgm:t>
        <a:bodyPr/>
        <a:lstStyle/>
        <a:p>
          <a:endParaRPr lang="en-US" b="1"/>
        </a:p>
      </dgm:t>
    </dgm:pt>
    <dgm:pt modelId="{232BD2A0-D203-4FA1-BE71-C5F6A2C28BCC}">
      <dgm:prSet custT="1"/>
      <dgm:spPr/>
      <dgm:t>
        <a:bodyPr/>
        <a:lstStyle/>
        <a:p>
          <a:pPr rtl="0"/>
          <a:r>
            <a:rPr lang="en-US" sz="1400" b="1" dirty="0"/>
            <a:t>50+ beds (North, South)</a:t>
          </a:r>
        </a:p>
      </dgm:t>
    </dgm:pt>
    <dgm:pt modelId="{0CE60CED-43E8-4489-8327-0F7AA5069E65}" type="parTrans" cxnId="{1A8C210D-8265-4483-B5B8-27580BE957D0}">
      <dgm:prSet/>
      <dgm:spPr/>
      <dgm:t>
        <a:bodyPr/>
        <a:lstStyle/>
        <a:p>
          <a:endParaRPr lang="en-US" b="1"/>
        </a:p>
      </dgm:t>
    </dgm:pt>
    <dgm:pt modelId="{2941B689-158A-4A76-A734-54667914AE85}" type="sibTrans" cxnId="{1A8C210D-8265-4483-B5B8-27580BE957D0}">
      <dgm:prSet/>
      <dgm:spPr/>
      <dgm:t>
        <a:bodyPr/>
        <a:lstStyle/>
        <a:p>
          <a:endParaRPr lang="en-US" b="1"/>
        </a:p>
      </dgm:t>
    </dgm:pt>
    <dgm:pt modelId="{100F280E-B639-4443-A88E-235B3DEF462F}">
      <dgm:prSet custT="1"/>
      <dgm:spPr/>
      <dgm:t>
        <a:bodyPr/>
        <a:lstStyle/>
        <a:p>
          <a:pPr rtl="0"/>
          <a:r>
            <a:rPr lang="en-US" sz="2400" b="1" dirty="0"/>
            <a:t>Legacy Tower</a:t>
          </a:r>
        </a:p>
      </dgm:t>
    </dgm:pt>
    <dgm:pt modelId="{0C136154-D99C-4D9C-B624-D8FA3CB8EC82}" type="parTrans" cxnId="{76B04BD0-7FF6-493D-8ED0-8D29D50CFCD0}">
      <dgm:prSet/>
      <dgm:spPr/>
      <dgm:t>
        <a:bodyPr/>
        <a:lstStyle/>
        <a:p>
          <a:endParaRPr lang="en-US" b="1"/>
        </a:p>
      </dgm:t>
    </dgm:pt>
    <dgm:pt modelId="{FFC3F8FE-C0A5-4E9E-A99D-131BE5E14D44}" type="sibTrans" cxnId="{76B04BD0-7FF6-493D-8ED0-8D29D50CFCD0}">
      <dgm:prSet/>
      <dgm:spPr/>
      <dgm:t>
        <a:bodyPr/>
        <a:lstStyle/>
        <a:p>
          <a:endParaRPr lang="en-US" b="1"/>
        </a:p>
      </dgm:t>
    </dgm:pt>
    <dgm:pt modelId="{F3CDCA1D-1AB7-49DA-A548-3A94ACE0AB57}">
      <dgm:prSet custT="1"/>
      <dgm:spPr/>
      <dgm:t>
        <a:bodyPr/>
        <a:lstStyle/>
        <a:p>
          <a:pPr rtl="0"/>
          <a:r>
            <a:rPr lang="en-US" sz="1400" b="1" dirty="0"/>
            <a:t>Largest pediatric emergency center in the region</a:t>
          </a:r>
        </a:p>
      </dgm:t>
    </dgm:pt>
    <dgm:pt modelId="{45F1CB63-537D-45D2-8D6D-B567B9810CDD}" type="parTrans" cxnId="{B4FD2233-CAFB-40F9-93A1-44628935F3A2}">
      <dgm:prSet/>
      <dgm:spPr/>
      <dgm:t>
        <a:bodyPr/>
        <a:lstStyle/>
        <a:p>
          <a:endParaRPr lang="en-US"/>
        </a:p>
      </dgm:t>
    </dgm:pt>
    <dgm:pt modelId="{DB0BEB01-8F03-4D8B-A804-EBDD1E628133}" type="sibTrans" cxnId="{B4FD2233-CAFB-40F9-93A1-44628935F3A2}">
      <dgm:prSet/>
      <dgm:spPr/>
      <dgm:t>
        <a:bodyPr/>
        <a:lstStyle/>
        <a:p>
          <a:endParaRPr lang="en-US"/>
        </a:p>
      </dgm:t>
    </dgm:pt>
    <dgm:pt modelId="{58CDA0E4-D4D7-4838-A7C1-605FC957026C}">
      <dgm:prSet custT="1"/>
      <dgm:spPr/>
      <dgm:t>
        <a:bodyPr/>
        <a:lstStyle/>
        <a:p>
          <a:pPr rtl="0"/>
          <a:r>
            <a:rPr lang="en-US" sz="1400" b="1" dirty="0"/>
            <a:t>High Acuity Operating Rooms  </a:t>
          </a:r>
          <a:endParaRPr lang="en-US" sz="1400" dirty="0"/>
        </a:p>
      </dgm:t>
    </dgm:pt>
    <dgm:pt modelId="{472EF86B-5127-4E28-9BD6-7763ED9D7349}" type="parTrans" cxnId="{FC7E0A96-E902-4031-A6BA-D57CF05E34EF}">
      <dgm:prSet/>
      <dgm:spPr/>
      <dgm:t>
        <a:bodyPr/>
        <a:lstStyle/>
        <a:p>
          <a:endParaRPr lang="en-US"/>
        </a:p>
      </dgm:t>
    </dgm:pt>
    <dgm:pt modelId="{85DD5726-CD06-48A4-9BA3-9EDAD43F83BF}" type="sibTrans" cxnId="{FC7E0A96-E902-4031-A6BA-D57CF05E34EF}">
      <dgm:prSet/>
      <dgm:spPr/>
      <dgm:t>
        <a:bodyPr/>
        <a:lstStyle/>
        <a:p>
          <a:endParaRPr lang="en-US"/>
        </a:p>
      </dgm:t>
    </dgm:pt>
    <dgm:pt modelId="{8AE8200A-C924-4409-BB20-449F4FCC6A3D}">
      <dgm:prSet custT="1"/>
      <dgm:spPr/>
      <dgm:t>
        <a:bodyPr/>
        <a:lstStyle/>
        <a:p>
          <a:pPr rtl="0"/>
          <a:r>
            <a:rPr lang="en-US" sz="1400" dirty="0"/>
            <a:t>6 ORs for neurosurgery, orthopedics, plastic, transplant, general surgery</a:t>
          </a:r>
        </a:p>
      </dgm:t>
    </dgm:pt>
    <dgm:pt modelId="{5DA1D311-E5EE-4B8C-ADBC-44E33A0EF593}" type="parTrans" cxnId="{60C21F1A-18C5-4E46-8F8D-5A76F618684C}">
      <dgm:prSet/>
      <dgm:spPr/>
      <dgm:t>
        <a:bodyPr/>
        <a:lstStyle/>
        <a:p>
          <a:endParaRPr lang="en-US"/>
        </a:p>
      </dgm:t>
    </dgm:pt>
    <dgm:pt modelId="{3FB68E05-E69B-4394-8CB3-A64BDD1B5C30}" type="sibTrans" cxnId="{60C21F1A-18C5-4E46-8F8D-5A76F618684C}">
      <dgm:prSet/>
      <dgm:spPr/>
      <dgm:t>
        <a:bodyPr/>
        <a:lstStyle/>
        <a:p>
          <a:endParaRPr lang="en-US"/>
        </a:p>
      </dgm:t>
    </dgm:pt>
    <dgm:pt modelId="{7BC3EF05-056B-484F-B582-3EEE0B6990E2}">
      <dgm:prSet custT="1"/>
      <dgm:spPr/>
      <dgm:t>
        <a:bodyPr/>
        <a:lstStyle/>
        <a:p>
          <a:pPr rtl="0"/>
          <a:r>
            <a:rPr lang="en-US" sz="1400" dirty="0"/>
            <a:t>Integrated MRI scanner</a:t>
          </a:r>
        </a:p>
      </dgm:t>
    </dgm:pt>
    <dgm:pt modelId="{7D36CC76-59F4-430A-8870-D0115405A77A}" type="parTrans" cxnId="{5C3F1721-D243-4568-9BD4-B53F92694BE8}">
      <dgm:prSet/>
      <dgm:spPr/>
      <dgm:t>
        <a:bodyPr/>
        <a:lstStyle/>
        <a:p>
          <a:endParaRPr lang="en-US"/>
        </a:p>
      </dgm:t>
    </dgm:pt>
    <dgm:pt modelId="{9EA1DCAD-B2F6-4BB4-9C3D-DB3EF9D4830A}" type="sibTrans" cxnId="{5C3F1721-D243-4568-9BD4-B53F92694BE8}">
      <dgm:prSet/>
      <dgm:spPr/>
      <dgm:t>
        <a:bodyPr/>
        <a:lstStyle/>
        <a:p>
          <a:endParaRPr lang="en-US"/>
        </a:p>
      </dgm:t>
    </dgm:pt>
    <dgm:pt modelId="{DAEC99DE-2A85-4F2B-8005-A6FDDC3C6C3B}">
      <dgm:prSet custT="1"/>
      <dgm:spPr/>
      <dgm:t>
        <a:bodyPr/>
        <a:lstStyle/>
        <a:p>
          <a:pPr rtl="0"/>
          <a:r>
            <a:rPr lang="en-US" sz="1400" b="1" dirty="0"/>
            <a:t>Pediatric Intensive Care Units </a:t>
          </a:r>
          <a:endParaRPr lang="en-US" sz="1400" dirty="0"/>
        </a:p>
      </dgm:t>
    </dgm:pt>
    <dgm:pt modelId="{74AB2266-C3C0-4A29-BFC5-B730F29A653F}" type="parTrans" cxnId="{0DF9A34A-72B3-4236-8230-4B112CBF6F7E}">
      <dgm:prSet/>
      <dgm:spPr/>
      <dgm:t>
        <a:bodyPr/>
        <a:lstStyle/>
        <a:p>
          <a:endParaRPr lang="en-US"/>
        </a:p>
      </dgm:t>
    </dgm:pt>
    <dgm:pt modelId="{23898DEC-65E8-485E-A2A3-38CA814575C4}" type="sibTrans" cxnId="{0DF9A34A-72B3-4236-8230-4B112CBF6F7E}">
      <dgm:prSet/>
      <dgm:spPr/>
      <dgm:t>
        <a:bodyPr/>
        <a:lstStyle/>
        <a:p>
          <a:endParaRPr lang="en-US"/>
        </a:p>
      </dgm:t>
    </dgm:pt>
    <dgm:pt modelId="{5D1D29DA-5668-4C7B-80F4-8CAE27A1F58E}">
      <dgm:prSet custT="1"/>
      <dgm:spPr/>
      <dgm:t>
        <a:bodyPr/>
        <a:lstStyle/>
        <a:p>
          <a:pPr rtl="0"/>
          <a:r>
            <a:rPr lang="en-US" sz="1400" dirty="0"/>
            <a:t>4 Pediatric ICU floors</a:t>
          </a:r>
        </a:p>
      </dgm:t>
    </dgm:pt>
    <dgm:pt modelId="{E7F02CAE-A445-4639-B053-D7B190C205B6}" type="parTrans" cxnId="{71401892-5052-4CEC-AAC5-928A56630FAB}">
      <dgm:prSet/>
      <dgm:spPr/>
      <dgm:t>
        <a:bodyPr/>
        <a:lstStyle/>
        <a:p>
          <a:endParaRPr lang="en-US"/>
        </a:p>
      </dgm:t>
    </dgm:pt>
    <dgm:pt modelId="{DFF19ACA-2F24-46BD-BD7A-1DE126151FAC}" type="sibTrans" cxnId="{71401892-5052-4CEC-AAC5-928A56630FAB}">
      <dgm:prSet/>
      <dgm:spPr/>
      <dgm:t>
        <a:bodyPr/>
        <a:lstStyle/>
        <a:p>
          <a:endParaRPr lang="en-US"/>
        </a:p>
      </dgm:t>
    </dgm:pt>
    <dgm:pt modelId="{2AA780CB-7CC0-4F1E-907B-47FEE4E9BA33}">
      <dgm:prSet custT="1"/>
      <dgm:spPr/>
      <dgm:t>
        <a:bodyPr/>
        <a:lstStyle/>
        <a:p>
          <a:pPr rtl="0"/>
          <a:r>
            <a:rPr lang="en-US" sz="1400" dirty="0"/>
            <a:t>Subspecialty PICUs including dedicated neuro-ICU and Surgical ICU</a:t>
          </a:r>
        </a:p>
      </dgm:t>
    </dgm:pt>
    <dgm:pt modelId="{B71D160D-0A17-4D74-B25E-DF923AB46B0B}" type="parTrans" cxnId="{EFBB60F6-E55A-47A0-8E87-6C3B7E7BEC39}">
      <dgm:prSet/>
      <dgm:spPr/>
      <dgm:t>
        <a:bodyPr/>
        <a:lstStyle/>
        <a:p>
          <a:endParaRPr lang="en-US"/>
        </a:p>
      </dgm:t>
    </dgm:pt>
    <dgm:pt modelId="{44E99A05-E478-46CF-B03B-B9F581133695}" type="sibTrans" cxnId="{EFBB60F6-E55A-47A0-8E87-6C3B7E7BEC39}">
      <dgm:prSet/>
      <dgm:spPr/>
      <dgm:t>
        <a:bodyPr/>
        <a:lstStyle/>
        <a:p>
          <a:endParaRPr lang="en-US"/>
        </a:p>
      </dgm:t>
    </dgm:pt>
    <dgm:pt modelId="{F94C2269-2524-44B8-A5AE-5F674F70402D}">
      <dgm:prSet custT="1"/>
      <dgm:spPr/>
      <dgm:t>
        <a:bodyPr/>
        <a:lstStyle/>
        <a:p>
          <a:pPr rtl="0"/>
          <a:r>
            <a:rPr lang="en-US" sz="1400" b="1" dirty="0"/>
            <a:t>84</a:t>
          </a:r>
          <a:r>
            <a:rPr lang="en-US" sz="1400" dirty="0"/>
            <a:t> large private PICU rooms </a:t>
          </a:r>
        </a:p>
      </dgm:t>
    </dgm:pt>
    <dgm:pt modelId="{11C79A35-583F-4D70-93D0-FACE54EC48C1}" type="parTrans" cxnId="{85EB2FCD-58C9-4C54-BA7D-BF29E0E1F673}">
      <dgm:prSet/>
      <dgm:spPr/>
      <dgm:t>
        <a:bodyPr/>
        <a:lstStyle/>
        <a:p>
          <a:endParaRPr lang="en-US"/>
        </a:p>
      </dgm:t>
    </dgm:pt>
    <dgm:pt modelId="{5F36EC87-A12D-4895-8669-12B1090CA409}" type="sibTrans" cxnId="{85EB2FCD-58C9-4C54-BA7D-BF29E0E1F673}">
      <dgm:prSet/>
      <dgm:spPr/>
      <dgm:t>
        <a:bodyPr/>
        <a:lstStyle/>
        <a:p>
          <a:endParaRPr lang="en-US"/>
        </a:p>
      </dgm:t>
    </dgm:pt>
    <dgm:pt modelId="{F2387305-198C-474A-AB5F-3531220A33F0}">
      <dgm:prSet custT="1"/>
      <dgm:spPr/>
      <dgm:t>
        <a:bodyPr/>
        <a:lstStyle/>
        <a:p>
          <a:pPr rtl="0"/>
          <a:r>
            <a:rPr lang="en-US" sz="1400" b="1" dirty="0"/>
            <a:t>Heart Center</a:t>
          </a:r>
          <a:endParaRPr lang="en-US" sz="1400" dirty="0"/>
        </a:p>
      </dgm:t>
    </dgm:pt>
    <dgm:pt modelId="{10374462-76FE-4082-A10D-FA1AFCEEB423}" type="parTrans" cxnId="{F7AF3633-F736-4176-8567-1EA06DCBF9C4}">
      <dgm:prSet/>
      <dgm:spPr/>
      <dgm:t>
        <a:bodyPr/>
        <a:lstStyle/>
        <a:p>
          <a:endParaRPr lang="en-US"/>
        </a:p>
      </dgm:t>
    </dgm:pt>
    <dgm:pt modelId="{F7938E3F-5FBE-4C9C-ACD8-D4B5A2F06721}" type="sibTrans" cxnId="{F7AF3633-F736-4176-8567-1EA06DCBF9C4}">
      <dgm:prSet/>
      <dgm:spPr/>
      <dgm:t>
        <a:bodyPr/>
        <a:lstStyle/>
        <a:p>
          <a:endParaRPr lang="en-US"/>
        </a:p>
      </dgm:t>
    </dgm:pt>
    <dgm:pt modelId="{615AFED1-DA42-450C-A306-AC180ACE569B}">
      <dgm:prSet custT="1"/>
      <dgm:spPr/>
      <dgm:t>
        <a:bodyPr/>
        <a:lstStyle/>
        <a:p>
          <a:pPr rtl="0"/>
          <a:r>
            <a:rPr lang="en-US" sz="1400" dirty="0"/>
            <a:t>8 floors</a:t>
          </a:r>
        </a:p>
      </dgm:t>
    </dgm:pt>
    <dgm:pt modelId="{D51E3FC7-DBB9-4CC8-A700-10A9FED709DB}" type="parTrans" cxnId="{EFF34200-A7FF-4DE3-8C10-6AF50701D8B2}">
      <dgm:prSet/>
      <dgm:spPr/>
      <dgm:t>
        <a:bodyPr/>
        <a:lstStyle/>
        <a:p>
          <a:endParaRPr lang="en-US"/>
        </a:p>
      </dgm:t>
    </dgm:pt>
    <dgm:pt modelId="{08241844-3492-4038-A16D-E8C10441FC08}" type="sibTrans" cxnId="{EFF34200-A7FF-4DE3-8C10-6AF50701D8B2}">
      <dgm:prSet/>
      <dgm:spPr/>
      <dgm:t>
        <a:bodyPr/>
        <a:lstStyle/>
        <a:p>
          <a:endParaRPr lang="en-US"/>
        </a:p>
      </dgm:t>
    </dgm:pt>
    <dgm:pt modelId="{A3538AB1-8415-438E-B6A7-31790A1B2746}">
      <dgm:prSet custT="1"/>
      <dgm:spPr/>
      <dgm:t>
        <a:bodyPr/>
        <a:lstStyle/>
        <a:p>
          <a:pPr rtl="0"/>
          <a:r>
            <a:rPr lang="en-US" sz="1400" dirty="0"/>
            <a:t>4 cardiac catheterization labs including integrated MRI scanner</a:t>
          </a:r>
        </a:p>
      </dgm:t>
    </dgm:pt>
    <dgm:pt modelId="{368859ED-43A5-4B93-8E0A-96E8719E2710}" type="parTrans" cxnId="{CBD6621A-FE96-479D-A918-72D8EBB89113}">
      <dgm:prSet/>
      <dgm:spPr/>
      <dgm:t>
        <a:bodyPr/>
        <a:lstStyle/>
        <a:p>
          <a:endParaRPr lang="en-US"/>
        </a:p>
      </dgm:t>
    </dgm:pt>
    <dgm:pt modelId="{83541AE6-540C-49D2-9D5A-D7A800C45160}" type="sibTrans" cxnId="{CBD6621A-FE96-479D-A918-72D8EBB89113}">
      <dgm:prSet/>
      <dgm:spPr/>
      <dgm:t>
        <a:bodyPr/>
        <a:lstStyle/>
        <a:p>
          <a:endParaRPr lang="en-US"/>
        </a:p>
      </dgm:t>
    </dgm:pt>
    <dgm:pt modelId="{6CC934C2-498C-45F5-9421-2780AEC2119D}">
      <dgm:prSet custT="1"/>
      <dgm:spPr/>
      <dgm:t>
        <a:bodyPr/>
        <a:lstStyle/>
        <a:p>
          <a:pPr rtl="0"/>
          <a:r>
            <a:rPr lang="en-US" sz="1400" dirty="0"/>
            <a:t>4 cardiovascular ORs</a:t>
          </a:r>
        </a:p>
      </dgm:t>
    </dgm:pt>
    <dgm:pt modelId="{91137E43-FEBE-4ECC-BCB7-7C525CD33F47}" type="parTrans" cxnId="{F8AEC9A7-BC3D-4616-B0A3-46844F017EDA}">
      <dgm:prSet/>
      <dgm:spPr/>
      <dgm:t>
        <a:bodyPr/>
        <a:lstStyle/>
        <a:p>
          <a:endParaRPr lang="en-US"/>
        </a:p>
      </dgm:t>
    </dgm:pt>
    <dgm:pt modelId="{51828E8D-F482-4108-8ABE-D77D86A580AF}" type="sibTrans" cxnId="{F8AEC9A7-BC3D-4616-B0A3-46844F017EDA}">
      <dgm:prSet/>
      <dgm:spPr/>
      <dgm:t>
        <a:bodyPr/>
        <a:lstStyle/>
        <a:p>
          <a:endParaRPr lang="en-US"/>
        </a:p>
      </dgm:t>
    </dgm:pt>
    <dgm:pt modelId="{AA30A5E0-28CD-4466-AF42-4C93656B10B5}">
      <dgm:prSet custT="1"/>
      <dgm:spPr/>
      <dgm:t>
        <a:bodyPr/>
        <a:lstStyle/>
        <a:p>
          <a:pPr rtl="0"/>
          <a:r>
            <a:rPr lang="en-US" sz="1400" dirty="0"/>
            <a:t>3 cardiovascular ICU floors with </a:t>
          </a:r>
          <a:r>
            <a:rPr lang="en-US" sz="1400" b="1" dirty="0"/>
            <a:t>48</a:t>
          </a:r>
          <a:r>
            <a:rPr lang="en-US" sz="1400" dirty="0"/>
            <a:t> private rooms</a:t>
          </a:r>
        </a:p>
      </dgm:t>
    </dgm:pt>
    <dgm:pt modelId="{26A37179-7F23-4F94-86E9-878DFA9A1E71}" type="parTrans" cxnId="{5E37EB21-8CDA-4C41-BBA4-A0F7CBB1031A}">
      <dgm:prSet/>
      <dgm:spPr/>
      <dgm:t>
        <a:bodyPr/>
        <a:lstStyle/>
        <a:p>
          <a:endParaRPr lang="en-US"/>
        </a:p>
      </dgm:t>
    </dgm:pt>
    <dgm:pt modelId="{BDC58CC5-746D-4E8E-9F9F-05D9CA1DC786}" type="sibTrans" cxnId="{5E37EB21-8CDA-4C41-BBA4-A0F7CBB1031A}">
      <dgm:prSet/>
      <dgm:spPr/>
      <dgm:t>
        <a:bodyPr/>
        <a:lstStyle/>
        <a:p>
          <a:endParaRPr lang="en-US"/>
        </a:p>
      </dgm:t>
    </dgm:pt>
    <dgm:pt modelId="{EB0C6569-783D-4009-B597-568EF3ED0B2D}">
      <dgm:prSet custT="1"/>
      <dgm:spPr/>
      <dgm:t>
        <a:bodyPr/>
        <a:lstStyle/>
        <a:p>
          <a:pPr rtl="0"/>
          <a:r>
            <a:rPr lang="en-US" sz="1400" dirty="0"/>
            <a:t>2 cardiac acute care floors with </a:t>
          </a:r>
          <a:r>
            <a:rPr lang="en-US" sz="1400" b="1" dirty="0"/>
            <a:t>42</a:t>
          </a:r>
          <a:r>
            <a:rPr lang="en-US" sz="1400" dirty="0"/>
            <a:t> private patient rooms</a:t>
          </a:r>
        </a:p>
      </dgm:t>
    </dgm:pt>
    <dgm:pt modelId="{AE7BB763-CB1A-4AD1-920F-BF1CDCE638BF}" type="parTrans" cxnId="{746C2CFD-F2F5-4A12-B091-9823DAC30510}">
      <dgm:prSet/>
      <dgm:spPr/>
      <dgm:t>
        <a:bodyPr/>
        <a:lstStyle/>
        <a:p>
          <a:endParaRPr lang="en-US"/>
        </a:p>
      </dgm:t>
    </dgm:pt>
    <dgm:pt modelId="{C9E39D60-C52B-4142-855A-1399CBEC4A96}" type="sibTrans" cxnId="{746C2CFD-F2F5-4A12-B091-9823DAC30510}">
      <dgm:prSet/>
      <dgm:spPr/>
      <dgm:t>
        <a:bodyPr/>
        <a:lstStyle/>
        <a:p>
          <a:endParaRPr lang="en-US"/>
        </a:p>
      </dgm:t>
    </dgm:pt>
    <dgm:pt modelId="{19384F5C-1D0E-4A23-96B1-1EB2911D4462}">
      <dgm:prSet custT="1"/>
      <dgm:spPr/>
      <dgm:t>
        <a:bodyPr/>
        <a:lstStyle/>
        <a:p>
          <a:pPr rtl="0"/>
          <a:r>
            <a:rPr lang="en-US" sz="1400" b="1" dirty="0"/>
            <a:t>Helistop </a:t>
          </a:r>
          <a:endParaRPr lang="en-US" sz="1400" dirty="0"/>
        </a:p>
      </dgm:t>
    </dgm:pt>
    <dgm:pt modelId="{CB4E4EAB-9783-40E0-8612-BB679A3A0637}" type="parTrans" cxnId="{B123BB0B-2690-4380-A9DD-B1E81840E8D7}">
      <dgm:prSet/>
      <dgm:spPr/>
      <dgm:t>
        <a:bodyPr/>
        <a:lstStyle/>
        <a:p>
          <a:endParaRPr lang="en-US"/>
        </a:p>
      </dgm:t>
    </dgm:pt>
    <dgm:pt modelId="{54052A1D-72A5-4357-A28F-C1F8D6CC5B98}" type="sibTrans" cxnId="{B123BB0B-2690-4380-A9DD-B1E81840E8D7}">
      <dgm:prSet/>
      <dgm:spPr/>
      <dgm:t>
        <a:bodyPr/>
        <a:lstStyle/>
        <a:p>
          <a:endParaRPr lang="en-US"/>
        </a:p>
      </dgm:t>
    </dgm:pt>
    <dgm:pt modelId="{8BC67881-43B9-43D0-B257-15C62B893A08}">
      <dgm:prSet custT="1"/>
      <dgm:spPr/>
      <dgm:t>
        <a:bodyPr/>
        <a:lstStyle/>
        <a:p>
          <a:pPr rtl="0"/>
          <a:r>
            <a:rPr lang="en-US" sz="1400" dirty="0"/>
            <a:t>Enables transport of critically ill patients</a:t>
          </a:r>
        </a:p>
      </dgm:t>
    </dgm:pt>
    <dgm:pt modelId="{991EDF27-2783-4778-AF4E-1D834FF358F3}" type="parTrans" cxnId="{5B938CA1-BB49-4182-98A3-2EDDBC19E6AF}">
      <dgm:prSet/>
      <dgm:spPr/>
      <dgm:t>
        <a:bodyPr/>
        <a:lstStyle/>
        <a:p>
          <a:endParaRPr lang="en-US"/>
        </a:p>
      </dgm:t>
    </dgm:pt>
    <dgm:pt modelId="{489DEE7C-D059-4800-A70A-E7A605DA932F}" type="sibTrans" cxnId="{5B938CA1-BB49-4182-98A3-2EDDBC19E6AF}">
      <dgm:prSet/>
      <dgm:spPr/>
      <dgm:t>
        <a:bodyPr/>
        <a:lstStyle/>
        <a:p>
          <a:endParaRPr lang="en-US"/>
        </a:p>
      </dgm:t>
    </dgm:pt>
    <dgm:pt modelId="{A14C4355-F9F1-4BB3-9D69-CACFCC17CDAB}" type="pres">
      <dgm:prSet presAssocID="{13037EDD-E824-4C0B-B05C-EF229F5BD64B}" presName="Name0" presStyleCnt="0">
        <dgm:presLayoutVars>
          <dgm:dir/>
          <dgm:animLvl val="lvl"/>
          <dgm:resizeHandles val="exact"/>
        </dgm:presLayoutVars>
      </dgm:prSet>
      <dgm:spPr/>
    </dgm:pt>
    <dgm:pt modelId="{FA840125-7C5A-4B83-9887-A887D20524A1}" type="pres">
      <dgm:prSet presAssocID="{B3619033-D9A9-42B9-BEF0-FC9F1F19A12A}" presName="linNode" presStyleCnt="0"/>
      <dgm:spPr/>
    </dgm:pt>
    <dgm:pt modelId="{5B317E8D-FE22-4DEF-9104-6ABBE5C967D8}" type="pres">
      <dgm:prSet presAssocID="{B3619033-D9A9-42B9-BEF0-FC9F1F19A12A}" presName="parentText" presStyleLbl="node1" presStyleIdx="0" presStyleCnt="3" custScaleX="160268" custScaleY="30798" custLinFactNeighborX="92226" custLinFactNeighborY="4437">
        <dgm:presLayoutVars>
          <dgm:chMax val="1"/>
          <dgm:bulletEnabled val="1"/>
        </dgm:presLayoutVars>
      </dgm:prSet>
      <dgm:spPr/>
    </dgm:pt>
    <dgm:pt modelId="{97C60A07-E44B-45F7-9EDD-F456C5DFD485}" type="pres">
      <dgm:prSet presAssocID="{3EFBCF19-0A14-43BB-A45D-91062F8333B5}" presName="sp" presStyleCnt="0"/>
      <dgm:spPr/>
    </dgm:pt>
    <dgm:pt modelId="{16CDE250-5445-49FD-B09C-43172CB927A6}" type="pres">
      <dgm:prSet presAssocID="{975D9D82-2957-47B6-88DC-C85E22B06396}" presName="linNode" presStyleCnt="0"/>
      <dgm:spPr/>
    </dgm:pt>
    <dgm:pt modelId="{4390FAB9-F659-42CD-9318-0E2FFE7C8508}" type="pres">
      <dgm:prSet presAssocID="{975D9D82-2957-47B6-88DC-C85E22B06396}" presName="parentText" presStyleLbl="node1" presStyleIdx="1" presStyleCnt="3" custScaleX="64935" custScaleY="29211">
        <dgm:presLayoutVars>
          <dgm:chMax val="1"/>
          <dgm:bulletEnabled val="1"/>
        </dgm:presLayoutVars>
      </dgm:prSet>
      <dgm:spPr/>
    </dgm:pt>
    <dgm:pt modelId="{85147625-4CE7-49C4-9D1B-C066CBE13BBA}" type="pres">
      <dgm:prSet presAssocID="{975D9D82-2957-47B6-88DC-C85E22B06396}" presName="descendantText" presStyleLbl="alignAccFollowNode1" presStyleIdx="0" presStyleCnt="2" custScaleX="122632" custScaleY="37103">
        <dgm:presLayoutVars>
          <dgm:bulletEnabled val="1"/>
        </dgm:presLayoutVars>
      </dgm:prSet>
      <dgm:spPr/>
    </dgm:pt>
    <dgm:pt modelId="{EDA52005-DF5E-4314-ADD4-067FEBEB4ED7}" type="pres">
      <dgm:prSet presAssocID="{1146A026-22CA-4759-A7B2-D4BE4BF40A53}" presName="sp" presStyleCnt="0"/>
      <dgm:spPr/>
    </dgm:pt>
    <dgm:pt modelId="{CBE840D1-1BF4-432D-90C4-FD4D5ED9A72F}" type="pres">
      <dgm:prSet presAssocID="{100F280E-B639-4443-A88E-235B3DEF462F}" presName="linNode" presStyleCnt="0"/>
      <dgm:spPr/>
    </dgm:pt>
    <dgm:pt modelId="{36DA6281-FA3C-4308-AFCD-1767CA5D7DF2}" type="pres">
      <dgm:prSet presAssocID="{100F280E-B639-4443-A88E-235B3DEF462F}" presName="parentText" presStyleLbl="node1" presStyleIdx="2" presStyleCnt="3" custScaleX="86111" custScaleY="101742" custLinFactNeighborX="-254" custLinFactNeighborY="2">
        <dgm:presLayoutVars>
          <dgm:chMax val="1"/>
          <dgm:bulletEnabled val="1"/>
        </dgm:presLayoutVars>
      </dgm:prSet>
      <dgm:spPr/>
    </dgm:pt>
    <dgm:pt modelId="{E7C716BA-B55D-4D79-9779-C41E5455607D}" type="pres">
      <dgm:prSet presAssocID="{100F280E-B639-4443-A88E-235B3DEF462F}" presName="descendantText" presStyleLbl="alignAccFollowNode1" presStyleIdx="1" presStyleCnt="2" custScaleX="158367" custScaleY="129532">
        <dgm:presLayoutVars>
          <dgm:bulletEnabled val="1"/>
        </dgm:presLayoutVars>
      </dgm:prSet>
      <dgm:spPr/>
    </dgm:pt>
  </dgm:ptLst>
  <dgm:cxnLst>
    <dgm:cxn modelId="{EFF34200-A7FF-4DE3-8C10-6AF50701D8B2}" srcId="{F2387305-198C-474A-AB5F-3531220A33F0}" destId="{615AFED1-DA42-450C-A306-AC180ACE569B}" srcOrd="0" destOrd="0" parTransId="{D51E3FC7-DBB9-4CC8-A700-10A9FED709DB}" sibTransId="{08241844-3492-4038-A16D-E8C10441FC08}"/>
    <dgm:cxn modelId="{C3416C0A-3C9C-4F47-9D2A-D1160982AD64}" type="presOf" srcId="{EB0C6569-783D-4009-B597-568EF3ED0B2D}" destId="{E7C716BA-B55D-4D79-9779-C41E5455607D}" srcOrd="0" destOrd="12" presId="urn:microsoft.com/office/officeart/2005/8/layout/vList5"/>
    <dgm:cxn modelId="{B123BB0B-2690-4380-A9DD-B1E81840E8D7}" srcId="{100F280E-B639-4443-A88E-235B3DEF462F}" destId="{19384F5C-1D0E-4A23-96B1-1EB2911D4462}" srcOrd="3" destOrd="0" parTransId="{CB4E4EAB-9783-40E0-8612-BB679A3A0637}" sibTransId="{54052A1D-72A5-4357-A28F-C1F8D6CC5B98}"/>
    <dgm:cxn modelId="{755A080D-B5CC-430E-91BE-6D7BB7F2D6E0}" type="presOf" srcId="{8AE8200A-C924-4409-BB20-449F4FCC6A3D}" destId="{E7C716BA-B55D-4D79-9779-C41E5455607D}" srcOrd="0" destOrd="1" presId="urn:microsoft.com/office/officeart/2005/8/layout/vList5"/>
    <dgm:cxn modelId="{1A8C210D-8265-4483-B5B8-27580BE957D0}" srcId="{975D9D82-2957-47B6-88DC-C85E22B06396}" destId="{232BD2A0-D203-4FA1-BE71-C5F6A2C28BCC}" srcOrd="2" destOrd="0" parTransId="{0CE60CED-43E8-4489-8327-0F7AA5069E65}" sibTransId="{2941B689-158A-4A76-A734-54667914AE85}"/>
    <dgm:cxn modelId="{BE9B0418-8DA0-448A-9C0A-76C2FC9CEC36}" type="presOf" srcId="{2AA780CB-7CC0-4F1E-907B-47FEE4E9BA33}" destId="{E7C716BA-B55D-4D79-9779-C41E5455607D}" srcOrd="0" destOrd="5" presId="urn:microsoft.com/office/officeart/2005/8/layout/vList5"/>
    <dgm:cxn modelId="{60C21F1A-18C5-4E46-8F8D-5A76F618684C}" srcId="{58CDA0E4-D4D7-4838-A7C1-605FC957026C}" destId="{8AE8200A-C924-4409-BB20-449F4FCC6A3D}" srcOrd="0" destOrd="0" parTransId="{5DA1D311-E5EE-4B8C-ADBC-44E33A0EF593}" sibTransId="{3FB68E05-E69B-4394-8CB3-A64BDD1B5C30}"/>
    <dgm:cxn modelId="{CBD6621A-FE96-479D-A918-72D8EBB89113}" srcId="{F2387305-198C-474A-AB5F-3531220A33F0}" destId="{A3538AB1-8415-438E-B6A7-31790A1B2746}" srcOrd="1" destOrd="0" parTransId="{368859ED-43A5-4B93-8E0A-96E8719E2710}" sibTransId="{83541AE6-540C-49D2-9D5A-D7A800C45160}"/>
    <dgm:cxn modelId="{67E3321F-ACDC-4229-99DB-426578EB8594}" type="presOf" srcId="{AA30A5E0-28CD-4466-AF42-4C93656B10B5}" destId="{E7C716BA-B55D-4D79-9779-C41E5455607D}" srcOrd="0" destOrd="11" presId="urn:microsoft.com/office/officeart/2005/8/layout/vList5"/>
    <dgm:cxn modelId="{81FFA420-2C7A-4FE4-93D1-2355BB3F6E02}" type="presOf" srcId="{58CDA0E4-D4D7-4838-A7C1-605FC957026C}" destId="{E7C716BA-B55D-4D79-9779-C41E5455607D}" srcOrd="0" destOrd="0" presId="urn:microsoft.com/office/officeart/2005/8/layout/vList5"/>
    <dgm:cxn modelId="{5C3F1721-D243-4568-9BD4-B53F92694BE8}" srcId="{58CDA0E4-D4D7-4838-A7C1-605FC957026C}" destId="{7BC3EF05-056B-484F-B582-3EEE0B6990E2}" srcOrd="1" destOrd="0" parTransId="{7D36CC76-59F4-430A-8870-D0115405A77A}" sibTransId="{9EA1DCAD-B2F6-4BB4-9C3D-DB3EF9D4830A}"/>
    <dgm:cxn modelId="{5E37EB21-8CDA-4C41-BBA4-A0F7CBB1031A}" srcId="{F2387305-198C-474A-AB5F-3531220A33F0}" destId="{AA30A5E0-28CD-4466-AF42-4C93656B10B5}" srcOrd="3" destOrd="0" parTransId="{26A37179-7F23-4F94-86E9-878DFA9A1E71}" sibTransId="{BDC58CC5-746D-4E8E-9F9F-05D9CA1DC786}"/>
    <dgm:cxn modelId="{F52CA125-E17A-48D9-9E47-051F6665121E}" type="presOf" srcId="{13037EDD-E824-4C0B-B05C-EF229F5BD64B}" destId="{A14C4355-F9F1-4BB3-9D69-CACFCC17CDAB}" srcOrd="0" destOrd="0" presId="urn:microsoft.com/office/officeart/2005/8/layout/vList5"/>
    <dgm:cxn modelId="{ED0B9F29-1637-4E89-A0EC-5300831A72B5}" type="presOf" srcId="{F2387305-198C-474A-AB5F-3531220A33F0}" destId="{E7C716BA-B55D-4D79-9779-C41E5455607D}" srcOrd="0" destOrd="7" presId="urn:microsoft.com/office/officeart/2005/8/layout/vList5"/>
    <dgm:cxn modelId="{7715012F-121F-440F-A1BF-329CB0DCAAD5}" type="presOf" srcId="{F94C2269-2524-44B8-A5AE-5F674F70402D}" destId="{E7C716BA-B55D-4D79-9779-C41E5455607D}" srcOrd="0" destOrd="6" presId="urn:microsoft.com/office/officeart/2005/8/layout/vList5"/>
    <dgm:cxn modelId="{B4FD2233-CAFB-40F9-93A1-44628935F3A2}" srcId="{975D9D82-2957-47B6-88DC-C85E22B06396}" destId="{F3CDCA1D-1AB7-49DA-A548-3A94ACE0AB57}" srcOrd="1" destOrd="0" parTransId="{45F1CB63-537D-45D2-8D6D-B567B9810CDD}" sibTransId="{DB0BEB01-8F03-4D8B-A804-EBDD1E628133}"/>
    <dgm:cxn modelId="{F7AF3633-F736-4176-8567-1EA06DCBF9C4}" srcId="{100F280E-B639-4443-A88E-235B3DEF462F}" destId="{F2387305-198C-474A-AB5F-3531220A33F0}" srcOrd="2" destOrd="0" parTransId="{10374462-76FE-4082-A10D-FA1AFCEEB423}" sibTransId="{F7938E3F-5FBE-4C9C-ACD8-D4B5A2F06721}"/>
    <dgm:cxn modelId="{FEF42437-4B38-4BB6-A0DA-2767A8DB391B}" type="presOf" srcId="{100F280E-B639-4443-A88E-235B3DEF462F}" destId="{36DA6281-FA3C-4308-AFCD-1767CA5D7DF2}" srcOrd="0" destOrd="0" presId="urn:microsoft.com/office/officeart/2005/8/layout/vList5"/>
    <dgm:cxn modelId="{7C9C7837-46BF-41D7-815B-75B85255D968}" type="presOf" srcId="{975D9D82-2957-47B6-88DC-C85E22B06396}" destId="{4390FAB9-F659-42CD-9318-0E2FFE7C8508}" srcOrd="0" destOrd="0" presId="urn:microsoft.com/office/officeart/2005/8/layout/vList5"/>
    <dgm:cxn modelId="{66FCC938-5BA1-406A-802B-2971AA5BBF43}" type="presOf" srcId="{B3619033-D9A9-42B9-BEF0-FC9F1F19A12A}" destId="{5B317E8D-FE22-4DEF-9104-6ABBE5C967D8}" srcOrd="0" destOrd="0" presId="urn:microsoft.com/office/officeart/2005/8/layout/vList5"/>
    <dgm:cxn modelId="{62ED7D3B-102A-4FBC-B2A3-C59D7842E5C6}" type="presOf" srcId="{5D1D29DA-5668-4C7B-80F4-8CAE27A1F58E}" destId="{E7C716BA-B55D-4D79-9779-C41E5455607D}" srcOrd="0" destOrd="4" presId="urn:microsoft.com/office/officeart/2005/8/layout/vList5"/>
    <dgm:cxn modelId="{0DF9A34A-72B3-4236-8230-4B112CBF6F7E}" srcId="{100F280E-B639-4443-A88E-235B3DEF462F}" destId="{DAEC99DE-2A85-4F2B-8005-A6FDDC3C6C3B}" srcOrd="1" destOrd="0" parTransId="{74AB2266-C3C0-4A29-BFC5-B730F29A653F}" sibTransId="{23898DEC-65E8-485E-A2A3-38CA814575C4}"/>
    <dgm:cxn modelId="{9C8D8857-0BB9-4942-8741-DE2346220684}" type="presOf" srcId="{615AFED1-DA42-450C-A306-AC180ACE569B}" destId="{E7C716BA-B55D-4D79-9779-C41E5455607D}" srcOrd="0" destOrd="8" presId="urn:microsoft.com/office/officeart/2005/8/layout/vList5"/>
    <dgm:cxn modelId="{58454670-C81D-4793-BA0E-54999D21FCE6}" type="presOf" srcId="{7BC3EF05-056B-484F-B582-3EEE0B6990E2}" destId="{E7C716BA-B55D-4D79-9779-C41E5455607D}" srcOrd="0" destOrd="2" presId="urn:microsoft.com/office/officeart/2005/8/layout/vList5"/>
    <dgm:cxn modelId="{9C675471-1578-4767-8329-F5A27163B989}" type="presOf" srcId="{DAEC99DE-2A85-4F2B-8005-A6FDDC3C6C3B}" destId="{E7C716BA-B55D-4D79-9779-C41E5455607D}" srcOrd="0" destOrd="3" presId="urn:microsoft.com/office/officeart/2005/8/layout/vList5"/>
    <dgm:cxn modelId="{18FF147E-CC56-442F-9BE2-CA258F7E2BC6}" type="presOf" srcId="{6CC934C2-498C-45F5-9421-2780AEC2119D}" destId="{E7C716BA-B55D-4D79-9779-C41E5455607D}" srcOrd="0" destOrd="10" presId="urn:microsoft.com/office/officeart/2005/8/layout/vList5"/>
    <dgm:cxn modelId="{4E09227E-73B0-4A75-8B49-24A609495B7E}" type="presOf" srcId="{F3CDCA1D-1AB7-49DA-A548-3A94ACE0AB57}" destId="{85147625-4CE7-49C4-9D1B-C066CBE13BBA}" srcOrd="0" destOrd="1" presId="urn:microsoft.com/office/officeart/2005/8/layout/vList5"/>
    <dgm:cxn modelId="{3542ED8E-F148-4DD9-AA8E-B7CA4280AD8B}" type="presOf" srcId="{8BC67881-43B9-43D0-B257-15C62B893A08}" destId="{E7C716BA-B55D-4D79-9779-C41E5455607D}" srcOrd="0" destOrd="14" presId="urn:microsoft.com/office/officeart/2005/8/layout/vList5"/>
    <dgm:cxn modelId="{71401892-5052-4CEC-AAC5-928A56630FAB}" srcId="{DAEC99DE-2A85-4F2B-8005-A6FDDC3C6C3B}" destId="{5D1D29DA-5668-4C7B-80F4-8CAE27A1F58E}" srcOrd="0" destOrd="0" parTransId="{E7F02CAE-A445-4639-B053-D7B190C205B6}" sibTransId="{DFF19ACA-2F24-46BD-BD7A-1DE126151FAC}"/>
    <dgm:cxn modelId="{FC7E0A96-E902-4031-A6BA-D57CF05E34EF}" srcId="{100F280E-B639-4443-A88E-235B3DEF462F}" destId="{58CDA0E4-D4D7-4838-A7C1-605FC957026C}" srcOrd="0" destOrd="0" parTransId="{472EF86B-5127-4E28-9BD6-7763ED9D7349}" sibTransId="{85DD5726-CD06-48A4-9BA3-9EDAD43F83BF}"/>
    <dgm:cxn modelId="{5B938CA1-BB49-4182-98A3-2EDDBC19E6AF}" srcId="{19384F5C-1D0E-4A23-96B1-1EB2911D4462}" destId="{8BC67881-43B9-43D0-B257-15C62B893A08}" srcOrd="0" destOrd="0" parTransId="{991EDF27-2783-4778-AF4E-1D834FF358F3}" sibTransId="{489DEE7C-D059-4800-A70A-E7A605DA932F}"/>
    <dgm:cxn modelId="{F8AEC9A7-BC3D-4616-B0A3-46844F017EDA}" srcId="{F2387305-198C-474A-AB5F-3531220A33F0}" destId="{6CC934C2-498C-45F5-9421-2780AEC2119D}" srcOrd="2" destOrd="0" parTransId="{91137E43-FEBE-4ECC-BCB7-7C525CD33F47}" sibTransId="{51828E8D-F482-4108-8ABE-D77D86A580AF}"/>
    <dgm:cxn modelId="{04592CA8-072A-422A-A4B9-3FD3263C328A}" type="presOf" srcId="{A3538AB1-8415-438E-B6A7-31790A1B2746}" destId="{E7C716BA-B55D-4D79-9779-C41E5455607D}" srcOrd="0" destOrd="9" presId="urn:microsoft.com/office/officeart/2005/8/layout/vList5"/>
    <dgm:cxn modelId="{41B46EBE-FF5A-444B-BB75-6895E39C93EB}" type="presOf" srcId="{D50C0F8B-19CE-4295-8DC4-0B805606FDF8}" destId="{85147625-4CE7-49C4-9D1B-C066CBE13BBA}" srcOrd="0" destOrd="0" presId="urn:microsoft.com/office/officeart/2005/8/layout/vList5"/>
    <dgm:cxn modelId="{9CAD5AC2-7C16-4B50-AB03-9AA24F5AE77B}" type="presOf" srcId="{19384F5C-1D0E-4A23-96B1-1EB2911D4462}" destId="{E7C716BA-B55D-4D79-9779-C41E5455607D}" srcOrd="0" destOrd="13" presId="urn:microsoft.com/office/officeart/2005/8/layout/vList5"/>
    <dgm:cxn modelId="{85EB2FCD-58C9-4C54-BA7D-BF29E0E1F673}" srcId="{DAEC99DE-2A85-4F2B-8005-A6FDDC3C6C3B}" destId="{F94C2269-2524-44B8-A5AE-5F674F70402D}" srcOrd="2" destOrd="0" parTransId="{11C79A35-583F-4D70-93D0-FACE54EC48C1}" sibTransId="{5F36EC87-A12D-4895-8669-12B1090CA409}"/>
    <dgm:cxn modelId="{0B88B1CD-5BA6-433B-B988-56B15AFC16F9}" srcId="{13037EDD-E824-4C0B-B05C-EF229F5BD64B}" destId="{975D9D82-2957-47B6-88DC-C85E22B06396}" srcOrd="1" destOrd="0" parTransId="{DFA8033A-52D9-44AF-9CBB-59EE2512DF7A}" sibTransId="{1146A026-22CA-4759-A7B2-D4BE4BF40A53}"/>
    <dgm:cxn modelId="{E4D70ECE-F630-4658-850B-0FD900452EA6}" type="presOf" srcId="{232BD2A0-D203-4FA1-BE71-C5F6A2C28BCC}" destId="{85147625-4CE7-49C4-9D1B-C066CBE13BBA}" srcOrd="0" destOrd="2" presId="urn:microsoft.com/office/officeart/2005/8/layout/vList5"/>
    <dgm:cxn modelId="{76B04BD0-7FF6-493D-8ED0-8D29D50CFCD0}" srcId="{13037EDD-E824-4C0B-B05C-EF229F5BD64B}" destId="{100F280E-B639-4443-A88E-235B3DEF462F}" srcOrd="2" destOrd="0" parTransId="{0C136154-D99C-4D9C-B624-D8FA3CB8EC82}" sibTransId="{FFC3F8FE-C0A5-4E9E-A99D-131BE5E14D44}"/>
    <dgm:cxn modelId="{7252ADDB-CF83-40A3-BE09-06F11E44D40C}" srcId="{975D9D82-2957-47B6-88DC-C85E22B06396}" destId="{D50C0F8B-19CE-4295-8DC4-0B805606FDF8}" srcOrd="0" destOrd="0" parTransId="{ED366B32-E4E1-4629-AF6D-F7E3EEA50BFB}" sibTransId="{9D054E10-3E87-4E6D-B8EB-BFE8C2B5522A}"/>
    <dgm:cxn modelId="{6E1FB7F4-F9F9-4E48-85B5-E51C5051B62C}" srcId="{13037EDD-E824-4C0B-B05C-EF229F5BD64B}" destId="{B3619033-D9A9-42B9-BEF0-FC9F1F19A12A}" srcOrd="0" destOrd="0" parTransId="{B97B9252-C457-4D0B-B27D-492B4A80E7BD}" sibTransId="{3EFBCF19-0A14-43BB-A45D-91062F8333B5}"/>
    <dgm:cxn modelId="{EFBB60F6-E55A-47A0-8E87-6C3B7E7BEC39}" srcId="{DAEC99DE-2A85-4F2B-8005-A6FDDC3C6C3B}" destId="{2AA780CB-7CC0-4F1E-907B-47FEE4E9BA33}" srcOrd="1" destOrd="0" parTransId="{B71D160D-0A17-4D74-B25E-DF923AB46B0B}" sibTransId="{44E99A05-E478-46CF-B03B-B9F581133695}"/>
    <dgm:cxn modelId="{746C2CFD-F2F5-4A12-B091-9823DAC30510}" srcId="{F2387305-198C-474A-AB5F-3531220A33F0}" destId="{EB0C6569-783D-4009-B597-568EF3ED0B2D}" srcOrd="4" destOrd="0" parTransId="{AE7BB763-CB1A-4AD1-920F-BF1CDCE638BF}" sibTransId="{C9E39D60-C52B-4142-855A-1399CBEC4A96}"/>
    <dgm:cxn modelId="{60921A52-8A8D-4C97-A53C-78B37711B890}" type="presParOf" srcId="{A14C4355-F9F1-4BB3-9D69-CACFCC17CDAB}" destId="{FA840125-7C5A-4B83-9887-A887D20524A1}" srcOrd="0" destOrd="0" presId="urn:microsoft.com/office/officeart/2005/8/layout/vList5"/>
    <dgm:cxn modelId="{11CCD88C-44E2-4FEC-A952-52C88715119D}" type="presParOf" srcId="{FA840125-7C5A-4B83-9887-A887D20524A1}" destId="{5B317E8D-FE22-4DEF-9104-6ABBE5C967D8}" srcOrd="0" destOrd="0" presId="urn:microsoft.com/office/officeart/2005/8/layout/vList5"/>
    <dgm:cxn modelId="{09BE7BB5-920C-4720-B9F7-139F9148F064}" type="presParOf" srcId="{A14C4355-F9F1-4BB3-9D69-CACFCC17CDAB}" destId="{97C60A07-E44B-45F7-9EDD-F456C5DFD485}" srcOrd="1" destOrd="0" presId="urn:microsoft.com/office/officeart/2005/8/layout/vList5"/>
    <dgm:cxn modelId="{55E3C011-0AEE-4408-88FF-D8600E0112F9}" type="presParOf" srcId="{A14C4355-F9F1-4BB3-9D69-CACFCC17CDAB}" destId="{16CDE250-5445-49FD-B09C-43172CB927A6}" srcOrd="2" destOrd="0" presId="urn:microsoft.com/office/officeart/2005/8/layout/vList5"/>
    <dgm:cxn modelId="{A3B6188B-FD41-40FB-AEDB-785F738A8657}" type="presParOf" srcId="{16CDE250-5445-49FD-B09C-43172CB927A6}" destId="{4390FAB9-F659-42CD-9318-0E2FFE7C8508}" srcOrd="0" destOrd="0" presId="urn:microsoft.com/office/officeart/2005/8/layout/vList5"/>
    <dgm:cxn modelId="{EB31FD35-7FD5-4714-9325-F070CCC9D54C}" type="presParOf" srcId="{16CDE250-5445-49FD-B09C-43172CB927A6}" destId="{85147625-4CE7-49C4-9D1B-C066CBE13BBA}" srcOrd="1" destOrd="0" presId="urn:microsoft.com/office/officeart/2005/8/layout/vList5"/>
    <dgm:cxn modelId="{BA880299-6C77-4CE5-A1EE-4EECB34EC6AB}" type="presParOf" srcId="{A14C4355-F9F1-4BB3-9D69-CACFCC17CDAB}" destId="{EDA52005-DF5E-4314-ADD4-067FEBEB4ED7}" srcOrd="3" destOrd="0" presId="urn:microsoft.com/office/officeart/2005/8/layout/vList5"/>
    <dgm:cxn modelId="{C80B5DA0-ECD3-4971-837E-B57608764963}" type="presParOf" srcId="{A14C4355-F9F1-4BB3-9D69-CACFCC17CDAB}" destId="{CBE840D1-1BF4-432D-90C4-FD4D5ED9A72F}" srcOrd="4" destOrd="0" presId="urn:microsoft.com/office/officeart/2005/8/layout/vList5"/>
    <dgm:cxn modelId="{7AC9AC57-0060-4D08-A572-FF83FEF5FE47}" type="presParOf" srcId="{CBE840D1-1BF4-432D-90C4-FD4D5ED9A72F}" destId="{36DA6281-FA3C-4308-AFCD-1767CA5D7DF2}" srcOrd="0" destOrd="0" presId="urn:microsoft.com/office/officeart/2005/8/layout/vList5"/>
    <dgm:cxn modelId="{D64B5DF9-EFD4-4C9C-9703-804B0610BC02}" type="presParOf" srcId="{CBE840D1-1BF4-432D-90C4-FD4D5ED9A72F}" destId="{E7C716BA-B55D-4D79-9779-C41E5455607D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3037EDD-E824-4C0B-B05C-EF229F5BD64B}" type="doc">
      <dgm:prSet loTypeId="urn:microsoft.com/office/officeart/2005/8/layout/vList5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B3619033-D9A9-42B9-BEF0-FC9F1F19A12A}">
      <dgm:prSet custT="1"/>
      <dgm:spPr/>
      <dgm:t>
        <a:bodyPr/>
        <a:lstStyle/>
        <a:p>
          <a:pPr rtl="0"/>
          <a:r>
            <a:rPr lang="en-US" sz="2000" b="1" dirty="0"/>
            <a:t>Community Training Site</a:t>
          </a:r>
        </a:p>
      </dgm:t>
    </dgm:pt>
    <dgm:pt modelId="{B97B9252-C457-4D0B-B27D-492B4A80E7BD}" type="parTrans" cxnId="{6E1FB7F4-F9F9-4E48-85B5-E51C5051B62C}">
      <dgm:prSet/>
      <dgm:spPr/>
      <dgm:t>
        <a:bodyPr/>
        <a:lstStyle/>
        <a:p>
          <a:endParaRPr lang="en-US" b="1"/>
        </a:p>
      </dgm:t>
    </dgm:pt>
    <dgm:pt modelId="{3EFBCF19-0A14-43BB-A45D-91062F8333B5}" type="sibTrans" cxnId="{6E1FB7F4-F9F9-4E48-85B5-E51C5051B62C}">
      <dgm:prSet/>
      <dgm:spPr/>
      <dgm:t>
        <a:bodyPr/>
        <a:lstStyle/>
        <a:p>
          <a:endParaRPr lang="en-US" b="1"/>
        </a:p>
      </dgm:t>
    </dgm:pt>
    <dgm:pt modelId="{975D9D82-2957-47B6-88DC-C85E22B06396}">
      <dgm:prSet custT="1"/>
      <dgm:spPr/>
      <dgm:t>
        <a:bodyPr/>
        <a:lstStyle/>
        <a:p>
          <a:pPr rtl="0"/>
          <a:r>
            <a:rPr lang="en-US" sz="2000" b="1" dirty="0"/>
            <a:t> Emergency Center</a:t>
          </a:r>
        </a:p>
      </dgm:t>
    </dgm:pt>
    <dgm:pt modelId="{DFA8033A-52D9-44AF-9CBB-59EE2512DF7A}" type="parTrans" cxnId="{0B88B1CD-5BA6-433B-B988-56B15AFC16F9}">
      <dgm:prSet/>
      <dgm:spPr/>
      <dgm:t>
        <a:bodyPr/>
        <a:lstStyle/>
        <a:p>
          <a:endParaRPr lang="en-US" b="1"/>
        </a:p>
      </dgm:t>
    </dgm:pt>
    <dgm:pt modelId="{1146A026-22CA-4759-A7B2-D4BE4BF40A53}" type="sibTrans" cxnId="{0B88B1CD-5BA6-433B-B988-56B15AFC16F9}">
      <dgm:prSet/>
      <dgm:spPr/>
      <dgm:t>
        <a:bodyPr/>
        <a:lstStyle/>
        <a:p>
          <a:endParaRPr lang="en-US" b="1"/>
        </a:p>
      </dgm:t>
    </dgm:pt>
    <dgm:pt modelId="{D50C0F8B-19CE-4295-8DC4-0B805606FDF8}">
      <dgm:prSet custT="1"/>
      <dgm:spPr/>
      <dgm:t>
        <a:bodyPr/>
        <a:lstStyle/>
        <a:p>
          <a:pPr rtl="0"/>
          <a:r>
            <a:rPr lang="en-US" sz="2000" b="1" dirty="0"/>
            <a:t>24 beds</a:t>
          </a:r>
        </a:p>
      </dgm:t>
    </dgm:pt>
    <dgm:pt modelId="{ED366B32-E4E1-4629-AF6D-F7E3EEA50BFB}" type="parTrans" cxnId="{7252ADDB-CF83-40A3-BE09-06F11E44D40C}">
      <dgm:prSet/>
      <dgm:spPr/>
      <dgm:t>
        <a:bodyPr/>
        <a:lstStyle/>
        <a:p>
          <a:endParaRPr lang="en-US" b="1"/>
        </a:p>
      </dgm:t>
    </dgm:pt>
    <dgm:pt modelId="{9D054E10-3E87-4E6D-B8EB-BFE8C2B5522A}" type="sibTrans" cxnId="{7252ADDB-CF83-40A3-BE09-06F11E44D40C}">
      <dgm:prSet/>
      <dgm:spPr/>
      <dgm:t>
        <a:bodyPr/>
        <a:lstStyle/>
        <a:p>
          <a:endParaRPr lang="en-US" b="1"/>
        </a:p>
      </dgm:t>
    </dgm:pt>
    <dgm:pt modelId="{100F280E-B639-4443-A88E-235B3DEF462F}">
      <dgm:prSet custT="1"/>
      <dgm:spPr/>
      <dgm:t>
        <a:bodyPr/>
        <a:lstStyle/>
        <a:p>
          <a:pPr rtl="0"/>
          <a:r>
            <a:rPr lang="en-US" sz="2000" b="1" dirty="0"/>
            <a:t>Pediatric Intensive Care Unit </a:t>
          </a:r>
        </a:p>
      </dgm:t>
    </dgm:pt>
    <dgm:pt modelId="{0C136154-D99C-4D9C-B624-D8FA3CB8EC82}" type="parTrans" cxnId="{76B04BD0-7FF6-493D-8ED0-8D29D50CFCD0}">
      <dgm:prSet/>
      <dgm:spPr/>
      <dgm:t>
        <a:bodyPr/>
        <a:lstStyle/>
        <a:p>
          <a:endParaRPr lang="en-US" b="1"/>
        </a:p>
      </dgm:t>
    </dgm:pt>
    <dgm:pt modelId="{FFC3F8FE-C0A5-4E9E-A99D-131BE5E14D44}" type="sibTrans" cxnId="{76B04BD0-7FF6-493D-8ED0-8D29D50CFCD0}">
      <dgm:prSet/>
      <dgm:spPr/>
      <dgm:t>
        <a:bodyPr/>
        <a:lstStyle/>
        <a:p>
          <a:endParaRPr lang="en-US" b="1"/>
        </a:p>
      </dgm:t>
    </dgm:pt>
    <dgm:pt modelId="{277E177B-557F-49F3-98D7-FC2F43D6090B}">
      <dgm:prSet custT="1"/>
      <dgm:spPr/>
      <dgm:t>
        <a:bodyPr/>
        <a:lstStyle/>
        <a:p>
          <a:pPr rtl="0"/>
          <a:r>
            <a:rPr lang="en-US" sz="2000" b="1" dirty="0"/>
            <a:t>22 beds </a:t>
          </a:r>
        </a:p>
      </dgm:t>
    </dgm:pt>
    <dgm:pt modelId="{B0B7C54F-A849-41D7-86BC-1C3E59B63BD9}" type="parTrans" cxnId="{D3F43B87-5CDD-42F0-B464-4EA6EF6EFC11}">
      <dgm:prSet/>
      <dgm:spPr/>
      <dgm:t>
        <a:bodyPr/>
        <a:lstStyle/>
        <a:p>
          <a:endParaRPr lang="en-US" b="1"/>
        </a:p>
      </dgm:t>
    </dgm:pt>
    <dgm:pt modelId="{2C5E702F-2119-40C1-B0FD-FBABB813CAFD}" type="sibTrans" cxnId="{D3F43B87-5CDD-42F0-B464-4EA6EF6EFC11}">
      <dgm:prSet/>
      <dgm:spPr/>
      <dgm:t>
        <a:bodyPr/>
        <a:lstStyle/>
        <a:p>
          <a:endParaRPr lang="en-US" b="1"/>
        </a:p>
      </dgm:t>
    </dgm:pt>
    <dgm:pt modelId="{4C0DBA94-BCCE-40B9-B716-124AC4A33F0A}">
      <dgm:prSet custT="1"/>
      <dgm:spPr/>
      <dgm:t>
        <a:bodyPr/>
        <a:lstStyle/>
        <a:p>
          <a:pPr rtl="0"/>
          <a:r>
            <a:rPr lang="en-US" sz="2000" b="1" dirty="0"/>
            <a:t>Inpatient </a:t>
          </a:r>
        </a:p>
      </dgm:t>
    </dgm:pt>
    <dgm:pt modelId="{8140F17D-1A67-4162-B7AA-167264C7CDA6}" type="parTrans" cxnId="{B4FBCFF1-3089-43DF-B1F4-C2BD1E3EEC2B}">
      <dgm:prSet/>
      <dgm:spPr/>
      <dgm:t>
        <a:bodyPr/>
        <a:lstStyle/>
        <a:p>
          <a:endParaRPr lang="en-US"/>
        </a:p>
      </dgm:t>
    </dgm:pt>
    <dgm:pt modelId="{100B61B1-D6D4-4978-9295-26A837A44F81}" type="sibTrans" cxnId="{B4FBCFF1-3089-43DF-B1F4-C2BD1E3EEC2B}">
      <dgm:prSet/>
      <dgm:spPr/>
      <dgm:t>
        <a:bodyPr/>
        <a:lstStyle/>
        <a:p>
          <a:endParaRPr lang="en-US"/>
        </a:p>
      </dgm:t>
    </dgm:pt>
    <dgm:pt modelId="{DB80CD51-D3A7-4189-B707-4C1DC7264B5B}">
      <dgm:prSet custT="1"/>
      <dgm:spPr/>
      <dgm:t>
        <a:bodyPr/>
        <a:lstStyle/>
        <a:p>
          <a:pPr rtl="0"/>
          <a:r>
            <a:rPr lang="en-US" sz="2000" b="1" dirty="0"/>
            <a:t>46 beds</a:t>
          </a:r>
        </a:p>
      </dgm:t>
    </dgm:pt>
    <dgm:pt modelId="{CAEC5C12-BBD5-4ACC-8E1A-E26CBF9D5899}" type="parTrans" cxnId="{CF5E6361-C9F9-4CEA-9A81-54C15BEDB1A1}">
      <dgm:prSet/>
      <dgm:spPr/>
      <dgm:t>
        <a:bodyPr/>
        <a:lstStyle/>
        <a:p>
          <a:endParaRPr lang="en-US"/>
        </a:p>
      </dgm:t>
    </dgm:pt>
    <dgm:pt modelId="{63B5F99C-1E2D-45E1-BDAF-744EE189891A}" type="sibTrans" cxnId="{CF5E6361-C9F9-4CEA-9A81-54C15BEDB1A1}">
      <dgm:prSet/>
      <dgm:spPr/>
      <dgm:t>
        <a:bodyPr/>
        <a:lstStyle/>
        <a:p>
          <a:endParaRPr lang="en-US"/>
        </a:p>
      </dgm:t>
    </dgm:pt>
    <dgm:pt modelId="{A14C4355-F9F1-4BB3-9D69-CACFCC17CDAB}" type="pres">
      <dgm:prSet presAssocID="{13037EDD-E824-4C0B-B05C-EF229F5BD64B}" presName="Name0" presStyleCnt="0">
        <dgm:presLayoutVars>
          <dgm:dir/>
          <dgm:animLvl val="lvl"/>
          <dgm:resizeHandles val="exact"/>
        </dgm:presLayoutVars>
      </dgm:prSet>
      <dgm:spPr/>
    </dgm:pt>
    <dgm:pt modelId="{FA840125-7C5A-4B83-9887-A887D20524A1}" type="pres">
      <dgm:prSet presAssocID="{B3619033-D9A9-42B9-BEF0-FC9F1F19A12A}" presName="linNode" presStyleCnt="0"/>
      <dgm:spPr/>
    </dgm:pt>
    <dgm:pt modelId="{5B317E8D-FE22-4DEF-9104-6ABBE5C967D8}" type="pres">
      <dgm:prSet presAssocID="{B3619033-D9A9-42B9-BEF0-FC9F1F19A12A}" presName="parentText" presStyleLbl="node1" presStyleIdx="0" presStyleCnt="4" custScaleX="162196" custScaleY="47891" custLinFactNeighborX="65179" custLinFactNeighborY="-229">
        <dgm:presLayoutVars>
          <dgm:chMax val="1"/>
          <dgm:bulletEnabled val="1"/>
        </dgm:presLayoutVars>
      </dgm:prSet>
      <dgm:spPr/>
    </dgm:pt>
    <dgm:pt modelId="{97C60A07-E44B-45F7-9EDD-F456C5DFD485}" type="pres">
      <dgm:prSet presAssocID="{3EFBCF19-0A14-43BB-A45D-91062F8333B5}" presName="sp" presStyleCnt="0"/>
      <dgm:spPr/>
    </dgm:pt>
    <dgm:pt modelId="{16CDE250-5445-49FD-B09C-43172CB927A6}" type="pres">
      <dgm:prSet presAssocID="{975D9D82-2957-47B6-88DC-C85E22B06396}" presName="linNode" presStyleCnt="0"/>
      <dgm:spPr/>
    </dgm:pt>
    <dgm:pt modelId="{4390FAB9-F659-42CD-9318-0E2FFE7C8508}" type="pres">
      <dgm:prSet presAssocID="{975D9D82-2957-47B6-88DC-C85E22B06396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85147625-4CE7-49C4-9D1B-C066CBE13BBA}" type="pres">
      <dgm:prSet presAssocID="{975D9D82-2957-47B6-88DC-C85E22B06396}" presName="descendantText" presStyleLbl="alignAccFollowNode1" presStyleIdx="0" presStyleCnt="3">
        <dgm:presLayoutVars>
          <dgm:bulletEnabled val="1"/>
        </dgm:presLayoutVars>
      </dgm:prSet>
      <dgm:spPr/>
    </dgm:pt>
    <dgm:pt modelId="{EDA52005-DF5E-4314-ADD4-067FEBEB4ED7}" type="pres">
      <dgm:prSet presAssocID="{1146A026-22CA-4759-A7B2-D4BE4BF40A53}" presName="sp" presStyleCnt="0"/>
      <dgm:spPr/>
    </dgm:pt>
    <dgm:pt modelId="{CBE840D1-1BF4-432D-90C4-FD4D5ED9A72F}" type="pres">
      <dgm:prSet presAssocID="{100F280E-B639-4443-A88E-235B3DEF462F}" presName="linNode" presStyleCnt="0"/>
      <dgm:spPr/>
    </dgm:pt>
    <dgm:pt modelId="{36DA6281-FA3C-4308-AFCD-1767CA5D7DF2}" type="pres">
      <dgm:prSet presAssocID="{100F280E-B639-4443-A88E-235B3DEF462F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E7C716BA-B55D-4D79-9779-C41E5455607D}" type="pres">
      <dgm:prSet presAssocID="{100F280E-B639-4443-A88E-235B3DEF462F}" presName="descendantText" presStyleLbl="alignAccFollowNode1" presStyleIdx="1" presStyleCnt="3" custLinFactNeighborX="473" custLinFactNeighborY="1867">
        <dgm:presLayoutVars>
          <dgm:bulletEnabled val="1"/>
        </dgm:presLayoutVars>
      </dgm:prSet>
      <dgm:spPr/>
    </dgm:pt>
    <dgm:pt modelId="{AD9D5AFB-A97A-4CEA-90D1-8DCE4BA057C9}" type="pres">
      <dgm:prSet presAssocID="{FFC3F8FE-C0A5-4E9E-A99D-131BE5E14D44}" presName="sp" presStyleCnt="0"/>
      <dgm:spPr/>
    </dgm:pt>
    <dgm:pt modelId="{685FC7B6-9C02-4933-8481-C4F7AB123BE7}" type="pres">
      <dgm:prSet presAssocID="{4C0DBA94-BCCE-40B9-B716-124AC4A33F0A}" presName="linNode" presStyleCnt="0"/>
      <dgm:spPr/>
    </dgm:pt>
    <dgm:pt modelId="{E21D4320-6A66-4828-9A71-0E64A0C93F2B}" type="pres">
      <dgm:prSet presAssocID="{4C0DBA94-BCCE-40B9-B716-124AC4A33F0A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74DE595E-085B-4413-B480-40C71278253C}" type="pres">
      <dgm:prSet presAssocID="{4C0DBA94-BCCE-40B9-B716-124AC4A33F0A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6BE4BB05-A9A7-4B13-8C07-B8E1A7CC6394}" type="presOf" srcId="{975D9D82-2957-47B6-88DC-C85E22B06396}" destId="{4390FAB9-F659-42CD-9318-0E2FFE7C8508}" srcOrd="0" destOrd="0" presId="urn:microsoft.com/office/officeart/2005/8/layout/vList5"/>
    <dgm:cxn modelId="{D48D3626-8761-4C78-848F-C3EF04A2E864}" type="presOf" srcId="{D50C0F8B-19CE-4295-8DC4-0B805606FDF8}" destId="{85147625-4CE7-49C4-9D1B-C066CBE13BBA}" srcOrd="0" destOrd="0" presId="urn:microsoft.com/office/officeart/2005/8/layout/vList5"/>
    <dgm:cxn modelId="{6FF3FE39-8D41-4DC0-BBD2-BF16C6CE3407}" type="presOf" srcId="{4C0DBA94-BCCE-40B9-B716-124AC4A33F0A}" destId="{E21D4320-6A66-4828-9A71-0E64A0C93F2B}" srcOrd="0" destOrd="0" presId="urn:microsoft.com/office/officeart/2005/8/layout/vList5"/>
    <dgm:cxn modelId="{74086947-D029-4F46-8E3A-F1E08A912307}" type="presOf" srcId="{B3619033-D9A9-42B9-BEF0-FC9F1F19A12A}" destId="{5B317E8D-FE22-4DEF-9104-6ABBE5C967D8}" srcOrd="0" destOrd="0" presId="urn:microsoft.com/office/officeart/2005/8/layout/vList5"/>
    <dgm:cxn modelId="{A598914A-6F1F-4BEC-BF1D-3AC03CB7E2DD}" type="presOf" srcId="{13037EDD-E824-4C0B-B05C-EF229F5BD64B}" destId="{A14C4355-F9F1-4BB3-9D69-CACFCC17CDAB}" srcOrd="0" destOrd="0" presId="urn:microsoft.com/office/officeart/2005/8/layout/vList5"/>
    <dgm:cxn modelId="{4279DB4E-AC54-4DD0-8D30-E37A468554B9}" type="presOf" srcId="{DB80CD51-D3A7-4189-B707-4C1DC7264B5B}" destId="{74DE595E-085B-4413-B480-40C71278253C}" srcOrd="0" destOrd="0" presId="urn:microsoft.com/office/officeart/2005/8/layout/vList5"/>
    <dgm:cxn modelId="{CF5E6361-C9F9-4CEA-9A81-54C15BEDB1A1}" srcId="{4C0DBA94-BCCE-40B9-B716-124AC4A33F0A}" destId="{DB80CD51-D3A7-4189-B707-4C1DC7264B5B}" srcOrd="0" destOrd="0" parTransId="{CAEC5C12-BBD5-4ACC-8E1A-E26CBF9D5899}" sibTransId="{63B5F99C-1E2D-45E1-BDAF-744EE189891A}"/>
    <dgm:cxn modelId="{301FE984-0FE5-413A-828E-36705DB874EA}" type="presOf" srcId="{277E177B-557F-49F3-98D7-FC2F43D6090B}" destId="{E7C716BA-B55D-4D79-9779-C41E5455607D}" srcOrd="0" destOrd="0" presId="urn:microsoft.com/office/officeart/2005/8/layout/vList5"/>
    <dgm:cxn modelId="{D3F43B87-5CDD-42F0-B464-4EA6EF6EFC11}" srcId="{100F280E-B639-4443-A88E-235B3DEF462F}" destId="{277E177B-557F-49F3-98D7-FC2F43D6090B}" srcOrd="0" destOrd="0" parTransId="{B0B7C54F-A849-41D7-86BC-1C3E59B63BD9}" sibTransId="{2C5E702F-2119-40C1-B0FD-FBABB813CAFD}"/>
    <dgm:cxn modelId="{A5FE90C1-6DF3-47C5-BA1C-9A7F4FDDE50F}" type="presOf" srcId="{100F280E-B639-4443-A88E-235B3DEF462F}" destId="{36DA6281-FA3C-4308-AFCD-1767CA5D7DF2}" srcOrd="0" destOrd="0" presId="urn:microsoft.com/office/officeart/2005/8/layout/vList5"/>
    <dgm:cxn modelId="{0B88B1CD-5BA6-433B-B988-56B15AFC16F9}" srcId="{13037EDD-E824-4C0B-B05C-EF229F5BD64B}" destId="{975D9D82-2957-47B6-88DC-C85E22B06396}" srcOrd="1" destOrd="0" parTransId="{DFA8033A-52D9-44AF-9CBB-59EE2512DF7A}" sibTransId="{1146A026-22CA-4759-A7B2-D4BE4BF40A53}"/>
    <dgm:cxn modelId="{76B04BD0-7FF6-493D-8ED0-8D29D50CFCD0}" srcId="{13037EDD-E824-4C0B-B05C-EF229F5BD64B}" destId="{100F280E-B639-4443-A88E-235B3DEF462F}" srcOrd="2" destOrd="0" parTransId="{0C136154-D99C-4D9C-B624-D8FA3CB8EC82}" sibTransId="{FFC3F8FE-C0A5-4E9E-A99D-131BE5E14D44}"/>
    <dgm:cxn modelId="{7252ADDB-CF83-40A3-BE09-06F11E44D40C}" srcId="{975D9D82-2957-47B6-88DC-C85E22B06396}" destId="{D50C0F8B-19CE-4295-8DC4-0B805606FDF8}" srcOrd="0" destOrd="0" parTransId="{ED366B32-E4E1-4629-AF6D-F7E3EEA50BFB}" sibTransId="{9D054E10-3E87-4E6D-B8EB-BFE8C2B5522A}"/>
    <dgm:cxn modelId="{B4FBCFF1-3089-43DF-B1F4-C2BD1E3EEC2B}" srcId="{13037EDD-E824-4C0B-B05C-EF229F5BD64B}" destId="{4C0DBA94-BCCE-40B9-B716-124AC4A33F0A}" srcOrd="3" destOrd="0" parTransId="{8140F17D-1A67-4162-B7AA-167264C7CDA6}" sibTransId="{100B61B1-D6D4-4978-9295-26A837A44F81}"/>
    <dgm:cxn modelId="{6E1FB7F4-F9F9-4E48-85B5-E51C5051B62C}" srcId="{13037EDD-E824-4C0B-B05C-EF229F5BD64B}" destId="{B3619033-D9A9-42B9-BEF0-FC9F1F19A12A}" srcOrd="0" destOrd="0" parTransId="{B97B9252-C457-4D0B-B27D-492B4A80E7BD}" sibTransId="{3EFBCF19-0A14-43BB-A45D-91062F8333B5}"/>
    <dgm:cxn modelId="{83C2D54F-96D3-47C0-B2A1-C7D2055981C9}" type="presParOf" srcId="{A14C4355-F9F1-4BB3-9D69-CACFCC17CDAB}" destId="{FA840125-7C5A-4B83-9887-A887D20524A1}" srcOrd="0" destOrd="0" presId="urn:microsoft.com/office/officeart/2005/8/layout/vList5"/>
    <dgm:cxn modelId="{FFE2077A-812F-4A10-8D85-33B6B829D36E}" type="presParOf" srcId="{FA840125-7C5A-4B83-9887-A887D20524A1}" destId="{5B317E8D-FE22-4DEF-9104-6ABBE5C967D8}" srcOrd="0" destOrd="0" presId="urn:microsoft.com/office/officeart/2005/8/layout/vList5"/>
    <dgm:cxn modelId="{48192709-0FDE-4CC9-A0C8-63400D123E57}" type="presParOf" srcId="{A14C4355-F9F1-4BB3-9D69-CACFCC17CDAB}" destId="{97C60A07-E44B-45F7-9EDD-F456C5DFD485}" srcOrd="1" destOrd="0" presId="urn:microsoft.com/office/officeart/2005/8/layout/vList5"/>
    <dgm:cxn modelId="{314AB159-7D43-4442-901C-7E221C5CA322}" type="presParOf" srcId="{A14C4355-F9F1-4BB3-9D69-CACFCC17CDAB}" destId="{16CDE250-5445-49FD-B09C-43172CB927A6}" srcOrd="2" destOrd="0" presId="urn:microsoft.com/office/officeart/2005/8/layout/vList5"/>
    <dgm:cxn modelId="{45EBD624-062E-4EC3-ADE7-2C31E3F87C17}" type="presParOf" srcId="{16CDE250-5445-49FD-B09C-43172CB927A6}" destId="{4390FAB9-F659-42CD-9318-0E2FFE7C8508}" srcOrd="0" destOrd="0" presId="urn:microsoft.com/office/officeart/2005/8/layout/vList5"/>
    <dgm:cxn modelId="{5B54C825-0152-4CE3-866A-B900022DA8BA}" type="presParOf" srcId="{16CDE250-5445-49FD-B09C-43172CB927A6}" destId="{85147625-4CE7-49C4-9D1B-C066CBE13BBA}" srcOrd="1" destOrd="0" presId="urn:microsoft.com/office/officeart/2005/8/layout/vList5"/>
    <dgm:cxn modelId="{B31FBA47-775F-46D0-B553-2348C711FD53}" type="presParOf" srcId="{A14C4355-F9F1-4BB3-9D69-CACFCC17CDAB}" destId="{EDA52005-DF5E-4314-ADD4-067FEBEB4ED7}" srcOrd="3" destOrd="0" presId="urn:microsoft.com/office/officeart/2005/8/layout/vList5"/>
    <dgm:cxn modelId="{44C0776A-BF28-4B5C-AB28-9D762290476F}" type="presParOf" srcId="{A14C4355-F9F1-4BB3-9D69-CACFCC17CDAB}" destId="{CBE840D1-1BF4-432D-90C4-FD4D5ED9A72F}" srcOrd="4" destOrd="0" presId="urn:microsoft.com/office/officeart/2005/8/layout/vList5"/>
    <dgm:cxn modelId="{94051985-37BB-4BB7-8F86-4C67370E4DCA}" type="presParOf" srcId="{CBE840D1-1BF4-432D-90C4-FD4D5ED9A72F}" destId="{36DA6281-FA3C-4308-AFCD-1767CA5D7DF2}" srcOrd="0" destOrd="0" presId="urn:microsoft.com/office/officeart/2005/8/layout/vList5"/>
    <dgm:cxn modelId="{6D2CA844-B45A-4387-BCAF-D9BA9B42777B}" type="presParOf" srcId="{CBE840D1-1BF4-432D-90C4-FD4D5ED9A72F}" destId="{E7C716BA-B55D-4D79-9779-C41E5455607D}" srcOrd="1" destOrd="0" presId="urn:microsoft.com/office/officeart/2005/8/layout/vList5"/>
    <dgm:cxn modelId="{93A81103-9564-471F-B11A-9742B51F4FEE}" type="presParOf" srcId="{A14C4355-F9F1-4BB3-9D69-CACFCC17CDAB}" destId="{AD9D5AFB-A97A-4CEA-90D1-8DCE4BA057C9}" srcOrd="5" destOrd="0" presId="urn:microsoft.com/office/officeart/2005/8/layout/vList5"/>
    <dgm:cxn modelId="{F8D7B737-028A-4293-84A3-480A576BBC43}" type="presParOf" srcId="{A14C4355-F9F1-4BB3-9D69-CACFCC17CDAB}" destId="{685FC7B6-9C02-4933-8481-C4F7AB123BE7}" srcOrd="6" destOrd="0" presId="urn:microsoft.com/office/officeart/2005/8/layout/vList5"/>
    <dgm:cxn modelId="{3635F4FE-610F-461E-AE0D-CEB19544F3E1}" type="presParOf" srcId="{685FC7B6-9C02-4933-8481-C4F7AB123BE7}" destId="{E21D4320-6A66-4828-9A71-0E64A0C93F2B}" srcOrd="0" destOrd="0" presId="urn:microsoft.com/office/officeart/2005/8/layout/vList5"/>
    <dgm:cxn modelId="{C146AE7A-D3A9-466E-BE0B-5343E9FE5C75}" type="presParOf" srcId="{685FC7B6-9C02-4933-8481-C4F7AB123BE7}" destId="{74DE595E-085B-4413-B480-40C71278253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3037EDD-E824-4C0B-B05C-EF229F5BD64B}" type="doc">
      <dgm:prSet loTypeId="urn:microsoft.com/office/officeart/2005/8/layout/vList5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B3619033-D9A9-42B9-BEF0-FC9F1F19A12A}">
      <dgm:prSet custT="1"/>
      <dgm:spPr/>
      <dgm:t>
        <a:bodyPr/>
        <a:lstStyle/>
        <a:p>
          <a:pPr rtl="0"/>
          <a:r>
            <a:rPr lang="en-US" sz="2000" b="1" dirty="0"/>
            <a:t>Community Site</a:t>
          </a:r>
        </a:p>
      </dgm:t>
    </dgm:pt>
    <dgm:pt modelId="{B97B9252-C457-4D0B-B27D-492B4A80E7BD}" type="parTrans" cxnId="{6E1FB7F4-F9F9-4E48-85B5-E51C5051B62C}">
      <dgm:prSet/>
      <dgm:spPr/>
      <dgm:t>
        <a:bodyPr/>
        <a:lstStyle/>
        <a:p>
          <a:endParaRPr lang="en-US" b="1"/>
        </a:p>
      </dgm:t>
    </dgm:pt>
    <dgm:pt modelId="{3EFBCF19-0A14-43BB-A45D-91062F8333B5}" type="sibTrans" cxnId="{6E1FB7F4-F9F9-4E48-85B5-E51C5051B62C}">
      <dgm:prSet/>
      <dgm:spPr/>
      <dgm:t>
        <a:bodyPr/>
        <a:lstStyle/>
        <a:p>
          <a:endParaRPr lang="en-US" b="1"/>
        </a:p>
      </dgm:t>
    </dgm:pt>
    <dgm:pt modelId="{975D9D82-2957-47B6-88DC-C85E22B06396}">
      <dgm:prSet custT="1"/>
      <dgm:spPr/>
      <dgm:t>
        <a:bodyPr/>
        <a:lstStyle/>
        <a:p>
          <a:pPr rtl="0"/>
          <a:r>
            <a:rPr lang="en-US" sz="2000" b="1" dirty="0"/>
            <a:t> Emergency Center</a:t>
          </a:r>
        </a:p>
      </dgm:t>
    </dgm:pt>
    <dgm:pt modelId="{DFA8033A-52D9-44AF-9CBB-59EE2512DF7A}" type="parTrans" cxnId="{0B88B1CD-5BA6-433B-B988-56B15AFC16F9}">
      <dgm:prSet/>
      <dgm:spPr/>
      <dgm:t>
        <a:bodyPr/>
        <a:lstStyle/>
        <a:p>
          <a:endParaRPr lang="en-US" b="1"/>
        </a:p>
      </dgm:t>
    </dgm:pt>
    <dgm:pt modelId="{1146A026-22CA-4759-A7B2-D4BE4BF40A53}" type="sibTrans" cxnId="{0B88B1CD-5BA6-433B-B988-56B15AFC16F9}">
      <dgm:prSet/>
      <dgm:spPr/>
      <dgm:t>
        <a:bodyPr/>
        <a:lstStyle/>
        <a:p>
          <a:endParaRPr lang="en-US" b="1"/>
        </a:p>
      </dgm:t>
    </dgm:pt>
    <dgm:pt modelId="{D50C0F8B-19CE-4295-8DC4-0B805606FDF8}">
      <dgm:prSet custT="1"/>
      <dgm:spPr/>
      <dgm:t>
        <a:bodyPr/>
        <a:lstStyle/>
        <a:p>
          <a:pPr rtl="0"/>
          <a:r>
            <a:rPr lang="en-US" sz="2000" b="1" dirty="0"/>
            <a:t>20 beds</a:t>
          </a:r>
        </a:p>
      </dgm:t>
    </dgm:pt>
    <dgm:pt modelId="{ED366B32-E4E1-4629-AF6D-F7E3EEA50BFB}" type="parTrans" cxnId="{7252ADDB-CF83-40A3-BE09-06F11E44D40C}">
      <dgm:prSet/>
      <dgm:spPr/>
      <dgm:t>
        <a:bodyPr/>
        <a:lstStyle/>
        <a:p>
          <a:endParaRPr lang="en-US" b="1"/>
        </a:p>
      </dgm:t>
    </dgm:pt>
    <dgm:pt modelId="{9D054E10-3E87-4E6D-B8EB-BFE8C2B5522A}" type="sibTrans" cxnId="{7252ADDB-CF83-40A3-BE09-06F11E44D40C}">
      <dgm:prSet/>
      <dgm:spPr/>
      <dgm:t>
        <a:bodyPr/>
        <a:lstStyle/>
        <a:p>
          <a:endParaRPr lang="en-US" b="1"/>
        </a:p>
      </dgm:t>
    </dgm:pt>
    <dgm:pt modelId="{100F280E-B639-4443-A88E-235B3DEF462F}">
      <dgm:prSet custT="1"/>
      <dgm:spPr/>
      <dgm:t>
        <a:bodyPr/>
        <a:lstStyle/>
        <a:p>
          <a:pPr rtl="0"/>
          <a:r>
            <a:rPr lang="en-US" sz="2000" b="1" dirty="0"/>
            <a:t>Pediatric Intensive Care Unit </a:t>
          </a:r>
        </a:p>
      </dgm:t>
    </dgm:pt>
    <dgm:pt modelId="{0C136154-D99C-4D9C-B624-D8FA3CB8EC82}" type="parTrans" cxnId="{76B04BD0-7FF6-493D-8ED0-8D29D50CFCD0}">
      <dgm:prSet/>
      <dgm:spPr/>
      <dgm:t>
        <a:bodyPr/>
        <a:lstStyle/>
        <a:p>
          <a:endParaRPr lang="en-US" b="1"/>
        </a:p>
      </dgm:t>
    </dgm:pt>
    <dgm:pt modelId="{FFC3F8FE-C0A5-4E9E-A99D-131BE5E14D44}" type="sibTrans" cxnId="{76B04BD0-7FF6-493D-8ED0-8D29D50CFCD0}">
      <dgm:prSet/>
      <dgm:spPr/>
      <dgm:t>
        <a:bodyPr/>
        <a:lstStyle/>
        <a:p>
          <a:endParaRPr lang="en-US" b="1"/>
        </a:p>
      </dgm:t>
    </dgm:pt>
    <dgm:pt modelId="{277E177B-557F-49F3-98D7-FC2F43D6090B}">
      <dgm:prSet custT="1"/>
      <dgm:spPr/>
      <dgm:t>
        <a:bodyPr/>
        <a:lstStyle/>
        <a:p>
          <a:pPr rtl="0"/>
          <a:r>
            <a:rPr lang="en-US" sz="2000" b="1" dirty="0"/>
            <a:t>14 beds </a:t>
          </a:r>
        </a:p>
      </dgm:t>
    </dgm:pt>
    <dgm:pt modelId="{B0B7C54F-A849-41D7-86BC-1C3E59B63BD9}" type="parTrans" cxnId="{D3F43B87-5CDD-42F0-B464-4EA6EF6EFC11}">
      <dgm:prSet/>
      <dgm:spPr/>
      <dgm:t>
        <a:bodyPr/>
        <a:lstStyle/>
        <a:p>
          <a:endParaRPr lang="en-US" b="1"/>
        </a:p>
      </dgm:t>
    </dgm:pt>
    <dgm:pt modelId="{2C5E702F-2119-40C1-B0FD-FBABB813CAFD}" type="sibTrans" cxnId="{D3F43B87-5CDD-42F0-B464-4EA6EF6EFC11}">
      <dgm:prSet/>
      <dgm:spPr/>
      <dgm:t>
        <a:bodyPr/>
        <a:lstStyle/>
        <a:p>
          <a:endParaRPr lang="en-US" b="1"/>
        </a:p>
      </dgm:t>
    </dgm:pt>
    <dgm:pt modelId="{4C0DBA94-BCCE-40B9-B716-124AC4A33F0A}">
      <dgm:prSet custT="1"/>
      <dgm:spPr/>
      <dgm:t>
        <a:bodyPr/>
        <a:lstStyle/>
        <a:p>
          <a:pPr rtl="0"/>
          <a:r>
            <a:rPr lang="en-US" sz="2000" b="1" dirty="0"/>
            <a:t>Inpatient </a:t>
          </a:r>
        </a:p>
      </dgm:t>
    </dgm:pt>
    <dgm:pt modelId="{8140F17D-1A67-4162-B7AA-167264C7CDA6}" type="parTrans" cxnId="{B4FBCFF1-3089-43DF-B1F4-C2BD1E3EEC2B}">
      <dgm:prSet/>
      <dgm:spPr/>
      <dgm:t>
        <a:bodyPr/>
        <a:lstStyle/>
        <a:p>
          <a:endParaRPr lang="en-US"/>
        </a:p>
      </dgm:t>
    </dgm:pt>
    <dgm:pt modelId="{100B61B1-D6D4-4978-9295-26A837A44F81}" type="sibTrans" cxnId="{B4FBCFF1-3089-43DF-B1F4-C2BD1E3EEC2B}">
      <dgm:prSet/>
      <dgm:spPr/>
      <dgm:t>
        <a:bodyPr/>
        <a:lstStyle/>
        <a:p>
          <a:endParaRPr lang="en-US"/>
        </a:p>
      </dgm:t>
    </dgm:pt>
    <dgm:pt modelId="{DB80CD51-D3A7-4189-B707-4C1DC7264B5B}">
      <dgm:prSet custT="1"/>
      <dgm:spPr/>
      <dgm:t>
        <a:bodyPr/>
        <a:lstStyle/>
        <a:p>
          <a:pPr rtl="0"/>
          <a:r>
            <a:rPr lang="en-US" sz="2000" b="1" dirty="0"/>
            <a:t>32 beds</a:t>
          </a:r>
        </a:p>
      </dgm:t>
    </dgm:pt>
    <dgm:pt modelId="{CAEC5C12-BBD5-4ACC-8E1A-E26CBF9D5899}" type="parTrans" cxnId="{CF5E6361-C9F9-4CEA-9A81-54C15BEDB1A1}">
      <dgm:prSet/>
      <dgm:spPr/>
      <dgm:t>
        <a:bodyPr/>
        <a:lstStyle/>
        <a:p>
          <a:endParaRPr lang="en-US"/>
        </a:p>
      </dgm:t>
    </dgm:pt>
    <dgm:pt modelId="{63B5F99C-1E2D-45E1-BDAF-744EE189891A}" type="sibTrans" cxnId="{CF5E6361-C9F9-4CEA-9A81-54C15BEDB1A1}">
      <dgm:prSet/>
      <dgm:spPr/>
      <dgm:t>
        <a:bodyPr/>
        <a:lstStyle/>
        <a:p>
          <a:endParaRPr lang="en-US"/>
        </a:p>
      </dgm:t>
    </dgm:pt>
    <dgm:pt modelId="{829AF5B2-85E7-4BFE-B74C-D9E39BCE91A9}">
      <dgm:prSet custT="1"/>
      <dgm:spPr/>
      <dgm:t>
        <a:bodyPr/>
        <a:lstStyle/>
        <a:p>
          <a:pPr rtl="0"/>
          <a:r>
            <a:rPr lang="en-US" sz="2000" b="1" dirty="0"/>
            <a:t>NICU Level 3</a:t>
          </a:r>
        </a:p>
      </dgm:t>
    </dgm:pt>
    <dgm:pt modelId="{AB3832D2-EE7F-4AB1-8785-AFB0498C4E57}" type="parTrans" cxnId="{1DD278B0-3937-4979-99E2-25E49603DF1A}">
      <dgm:prSet/>
      <dgm:spPr/>
      <dgm:t>
        <a:bodyPr/>
        <a:lstStyle/>
        <a:p>
          <a:endParaRPr lang="en-US"/>
        </a:p>
      </dgm:t>
    </dgm:pt>
    <dgm:pt modelId="{BFFEA086-FE31-45FE-818B-CD8E4B3FF2FC}" type="sibTrans" cxnId="{1DD278B0-3937-4979-99E2-25E49603DF1A}">
      <dgm:prSet/>
      <dgm:spPr/>
      <dgm:t>
        <a:bodyPr/>
        <a:lstStyle/>
        <a:p>
          <a:endParaRPr lang="en-US"/>
        </a:p>
      </dgm:t>
    </dgm:pt>
    <dgm:pt modelId="{1B94848B-6063-4DF1-B8D9-03CBAFC85766}">
      <dgm:prSet custT="1"/>
      <dgm:spPr/>
      <dgm:t>
        <a:bodyPr/>
        <a:lstStyle/>
        <a:p>
          <a:pPr rtl="0"/>
          <a:r>
            <a:rPr lang="en-US" sz="2000" b="1" dirty="0"/>
            <a:t>14</a:t>
          </a:r>
        </a:p>
      </dgm:t>
    </dgm:pt>
    <dgm:pt modelId="{B203291E-8454-4B8D-B517-09F63AF9267A}" type="parTrans" cxnId="{95133BA9-93C1-4E80-A190-FDF515DFB5D0}">
      <dgm:prSet/>
      <dgm:spPr/>
      <dgm:t>
        <a:bodyPr/>
        <a:lstStyle/>
        <a:p>
          <a:endParaRPr lang="en-US"/>
        </a:p>
      </dgm:t>
    </dgm:pt>
    <dgm:pt modelId="{D9C8FA0F-28DD-4ABE-9F83-4A13A131EBD8}" type="sibTrans" cxnId="{95133BA9-93C1-4E80-A190-FDF515DFB5D0}">
      <dgm:prSet/>
      <dgm:spPr/>
      <dgm:t>
        <a:bodyPr/>
        <a:lstStyle/>
        <a:p>
          <a:endParaRPr lang="en-US"/>
        </a:p>
      </dgm:t>
    </dgm:pt>
    <dgm:pt modelId="{A14C4355-F9F1-4BB3-9D69-CACFCC17CDAB}" type="pres">
      <dgm:prSet presAssocID="{13037EDD-E824-4C0B-B05C-EF229F5BD64B}" presName="Name0" presStyleCnt="0">
        <dgm:presLayoutVars>
          <dgm:dir/>
          <dgm:animLvl val="lvl"/>
          <dgm:resizeHandles val="exact"/>
        </dgm:presLayoutVars>
      </dgm:prSet>
      <dgm:spPr/>
    </dgm:pt>
    <dgm:pt modelId="{FA840125-7C5A-4B83-9887-A887D20524A1}" type="pres">
      <dgm:prSet presAssocID="{B3619033-D9A9-42B9-BEF0-FC9F1F19A12A}" presName="linNode" presStyleCnt="0"/>
      <dgm:spPr/>
    </dgm:pt>
    <dgm:pt modelId="{5B317E8D-FE22-4DEF-9104-6ABBE5C967D8}" type="pres">
      <dgm:prSet presAssocID="{B3619033-D9A9-42B9-BEF0-FC9F1F19A12A}" presName="parentText" presStyleLbl="node1" presStyleIdx="0" presStyleCnt="5" custScaleX="162196" custScaleY="47891" custLinFactNeighborX="65179" custLinFactNeighborY="-229">
        <dgm:presLayoutVars>
          <dgm:chMax val="1"/>
          <dgm:bulletEnabled val="1"/>
        </dgm:presLayoutVars>
      </dgm:prSet>
      <dgm:spPr/>
    </dgm:pt>
    <dgm:pt modelId="{97C60A07-E44B-45F7-9EDD-F456C5DFD485}" type="pres">
      <dgm:prSet presAssocID="{3EFBCF19-0A14-43BB-A45D-91062F8333B5}" presName="sp" presStyleCnt="0"/>
      <dgm:spPr/>
    </dgm:pt>
    <dgm:pt modelId="{16CDE250-5445-49FD-B09C-43172CB927A6}" type="pres">
      <dgm:prSet presAssocID="{975D9D82-2957-47B6-88DC-C85E22B06396}" presName="linNode" presStyleCnt="0"/>
      <dgm:spPr/>
    </dgm:pt>
    <dgm:pt modelId="{4390FAB9-F659-42CD-9318-0E2FFE7C8508}" type="pres">
      <dgm:prSet presAssocID="{975D9D82-2957-47B6-88DC-C85E22B06396}" presName="parentText" presStyleLbl="node1" presStyleIdx="1" presStyleCnt="5">
        <dgm:presLayoutVars>
          <dgm:chMax val="1"/>
          <dgm:bulletEnabled val="1"/>
        </dgm:presLayoutVars>
      </dgm:prSet>
      <dgm:spPr/>
    </dgm:pt>
    <dgm:pt modelId="{85147625-4CE7-49C4-9D1B-C066CBE13BBA}" type="pres">
      <dgm:prSet presAssocID="{975D9D82-2957-47B6-88DC-C85E22B06396}" presName="descendantText" presStyleLbl="alignAccFollowNode1" presStyleIdx="0" presStyleCnt="4">
        <dgm:presLayoutVars>
          <dgm:bulletEnabled val="1"/>
        </dgm:presLayoutVars>
      </dgm:prSet>
      <dgm:spPr/>
    </dgm:pt>
    <dgm:pt modelId="{EDA52005-DF5E-4314-ADD4-067FEBEB4ED7}" type="pres">
      <dgm:prSet presAssocID="{1146A026-22CA-4759-A7B2-D4BE4BF40A53}" presName="sp" presStyleCnt="0"/>
      <dgm:spPr/>
    </dgm:pt>
    <dgm:pt modelId="{CBE840D1-1BF4-432D-90C4-FD4D5ED9A72F}" type="pres">
      <dgm:prSet presAssocID="{100F280E-B639-4443-A88E-235B3DEF462F}" presName="linNode" presStyleCnt="0"/>
      <dgm:spPr/>
    </dgm:pt>
    <dgm:pt modelId="{36DA6281-FA3C-4308-AFCD-1767CA5D7DF2}" type="pres">
      <dgm:prSet presAssocID="{100F280E-B639-4443-A88E-235B3DEF462F}" presName="parentText" presStyleLbl="node1" presStyleIdx="2" presStyleCnt="5">
        <dgm:presLayoutVars>
          <dgm:chMax val="1"/>
          <dgm:bulletEnabled val="1"/>
        </dgm:presLayoutVars>
      </dgm:prSet>
      <dgm:spPr/>
    </dgm:pt>
    <dgm:pt modelId="{E7C716BA-B55D-4D79-9779-C41E5455607D}" type="pres">
      <dgm:prSet presAssocID="{100F280E-B639-4443-A88E-235B3DEF462F}" presName="descendantText" presStyleLbl="alignAccFollowNode1" presStyleIdx="1" presStyleCnt="4" custLinFactNeighborX="473" custLinFactNeighborY="1867">
        <dgm:presLayoutVars>
          <dgm:bulletEnabled val="1"/>
        </dgm:presLayoutVars>
      </dgm:prSet>
      <dgm:spPr/>
    </dgm:pt>
    <dgm:pt modelId="{AD9D5AFB-A97A-4CEA-90D1-8DCE4BA057C9}" type="pres">
      <dgm:prSet presAssocID="{FFC3F8FE-C0A5-4E9E-A99D-131BE5E14D44}" presName="sp" presStyleCnt="0"/>
      <dgm:spPr/>
    </dgm:pt>
    <dgm:pt modelId="{685FC7B6-9C02-4933-8481-C4F7AB123BE7}" type="pres">
      <dgm:prSet presAssocID="{4C0DBA94-BCCE-40B9-B716-124AC4A33F0A}" presName="linNode" presStyleCnt="0"/>
      <dgm:spPr/>
    </dgm:pt>
    <dgm:pt modelId="{E21D4320-6A66-4828-9A71-0E64A0C93F2B}" type="pres">
      <dgm:prSet presAssocID="{4C0DBA94-BCCE-40B9-B716-124AC4A33F0A}" presName="parentText" presStyleLbl="node1" presStyleIdx="3" presStyleCnt="5">
        <dgm:presLayoutVars>
          <dgm:chMax val="1"/>
          <dgm:bulletEnabled val="1"/>
        </dgm:presLayoutVars>
      </dgm:prSet>
      <dgm:spPr/>
    </dgm:pt>
    <dgm:pt modelId="{74DE595E-085B-4413-B480-40C71278253C}" type="pres">
      <dgm:prSet presAssocID="{4C0DBA94-BCCE-40B9-B716-124AC4A33F0A}" presName="descendantText" presStyleLbl="alignAccFollowNode1" presStyleIdx="2" presStyleCnt="4">
        <dgm:presLayoutVars>
          <dgm:bulletEnabled val="1"/>
        </dgm:presLayoutVars>
      </dgm:prSet>
      <dgm:spPr/>
    </dgm:pt>
    <dgm:pt modelId="{4A194895-0278-494C-9598-FF9E6293CAAF}" type="pres">
      <dgm:prSet presAssocID="{100B61B1-D6D4-4978-9295-26A837A44F81}" presName="sp" presStyleCnt="0"/>
      <dgm:spPr/>
    </dgm:pt>
    <dgm:pt modelId="{9916C807-F2F4-4C04-9F7F-60B5DF6B1580}" type="pres">
      <dgm:prSet presAssocID="{829AF5B2-85E7-4BFE-B74C-D9E39BCE91A9}" presName="linNode" presStyleCnt="0"/>
      <dgm:spPr/>
    </dgm:pt>
    <dgm:pt modelId="{778BF0F2-08CB-46D9-B2D9-6C0E39F34A69}" type="pres">
      <dgm:prSet presAssocID="{829AF5B2-85E7-4BFE-B74C-D9E39BCE91A9}" presName="parentText" presStyleLbl="node1" presStyleIdx="4" presStyleCnt="5">
        <dgm:presLayoutVars>
          <dgm:chMax val="1"/>
          <dgm:bulletEnabled val="1"/>
        </dgm:presLayoutVars>
      </dgm:prSet>
      <dgm:spPr/>
    </dgm:pt>
    <dgm:pt modelId="{96A36EEA-9B3D-4F0A-A6BD-70E7966B7D2F}" type="pres">
      <dgm:prSet presAssocID="{829AF5B2-85E7-4BFE-B74C-D9E39BCE91A9}" presName="descendantText" presStyleLbl="alignAccFollowNode1" presStyleIdx="3" presStyleCnt="4">
        <dgm:presLayoutVars>
          <dgm:bulletEnabled val="1"/>
        </dgm:presLayoutVars>
      </dgm:prSet>
      <dgm:spPr/>
    </dgm:pt>
  </dgm:ptLst>
  <dgm:cxnLst>
    <dgm:cxn modelId="{7929FA25-EC91-4435-8874-0511B7EFBDC3}" type="presOf" srcId="{13037EDD-E824-4C0B-B05C-EF229F5BD64B}" destId="{A14C4355-F9F1-4BB3-9D69-CACFCC17CDAB}" srcOrd="0" destOrd="0" presId="urn:microsoft.com/office/officeart/2005/8/layout/vList5"/>
    <dgm:cxn modelId="{3726DB2F-B2E9-456C-AE39-2994D3B4851E}" type="presOf" srcId="{B3619033-D9A9-42B9-BEF0-FC9F1F19A12A}" destId="{5B317E8D-FE22-4DEF-9104-6ABBE5C967D8}" srcOrd="0" destOrd="0" presId="urn:microsoft.com/office/officeart/2005/8/layout/vList5"/>
    <dgm:cxn modelId="{B470F22F-406C-40A1-8D0E-C43F426C6BA6}" type="presOf" srcId="{4C0DBA94-BCCE-40B9-B716-124AC4A33F0A}" destId="{E21D4320-6A66-4828-9A71-0E64A0C93F2B}" srcOrd="0" destOrd="0" presId="urn:microsoft.com/office/officeart/2005/8/layout/vList5"/>
    <dgm:cxn modelId="{2CD87D49-655A-4C62-A222-1D82488E07B7}" type="presOf" srcId="{1B94848B-6063-4DF1-B8D9-03CBAFC85766}" destId="{96A36EEA-9B3D-4F0A-A6BD-70E7966B7D2F}" srcOrd="0" destOrd="0" presId="urn:microsoft.com/office/officeart/2005/8/layout/vList5"/>
    <dgm:cxn modelId="{A1C0E756-1AEE-484F-A7F1-49A6F9450A3C}" type="presOf" srcId="{D50C0F8B-19CE-4295-8DC4-0B805606FDF8}" destId="{85147625-4CE7-49C4-9D1B-C066CBE13BBA}" srcOrd="0" destOrd="0" presId="urn:microsoft.com/office/officeart/2005/8/layout/vList5"/>
    <dgm:cxn modelId="{CD77105B-731E-4891-BE82-8501D7AEE318}" type="presOf" srcId="{100F280E-B639-4443-A88E-235B3DEF462F}" destId="{36DA6281-FA3C-4308-AFCD-1767CA5D7DF2}" srcOrd="0" destOrd="0" presId="urn:microsoft.com/office/officeart/2005/8/layout/vList5"/>
    <dgm:cxn modelId="{CF5E6361-C9F9-4CEA-9A81-54C15BEDB1A1}" srcId="{4C0DBA94-BCCE-40B9-B716-124AC4A33F0A}" destId="{DB80CD51-D3A7-4189-B707-4C1DC7264B5B}" srcOrd="0" destOrd="0" parTransId="{CAEC5C12-BBD5-4ACC-8E1A-E26CBF9D5899}" sibTransId="{63B5F99C-1E2D-45E1-BDAF-744EE189891A}"/>
    <dgm:cxn modelId="{9B97B062-39F6-462B-AEFD-535E2E99FD1E}" type="presOf" srcId="{DB80CD51-D3A7-4189-B707-4C1DC7264B5B}" destId="{74DE595E-085B-4413-B480-40C71278253C}" srcOrd="0" destOrd="0" presId="urn:microsoft.com/office/officeart/2005/8/layout/vList5"/>
    <dgm:cxn modelId="{D3F43B87-5CDD-42F0-B464-4EA6EF6EFC11}" srcId="{100F280E-B639-4443-A88E-235B3DEF462F}" destId="{277E177B-557F-49F3-98D7-FC2F43D6090B}" srcOrd="0" destOrd="0" parTransId="{B0B7C54F-A849-41D7-86BC-1C3E59B63BD9}" sibTransId="{2C5E702F-2119-40C1-B0FD-FBABB813CAFD}"/>
    <dgm:cxn modelId="{DB92158A-2EE9-4628-B65A-0B4A3A833EE9}" type="presOf" srcId="{277E177B-557F-49F3-98D7-FC2F43D6090B}" destId="{E7C716BA-B55D-4D79-9779-C41E5455607D}" srcOrd="0" destOrd="0" presId="urn:microsoft.com/office/officeart/2005/8/layout/vList5"/>
    <dgm:cxn modelId="{95133BA9-93C1-4E80-A190-FDF515DFB5D0}" srcId="{829AF5B2-85E7-4BFE-B74C-D9E39BCE91A9}" destId="{1B94848B-6063-4DF1-B8D9-03CBAFC85766}" srcOrd="0" destOrd="0" parTransId="{B203291E-8454-4B8D-B517-09F63AF9267A}" sibTransId="{D9C8FA0F-28DD-4ABE-9F83-4A13A131EBD8}"/>
    <dgm:cxn modelId="{99F5BFAD-7438-4B34-A19D-181F311766BF}" type="presOf" srcId="{975D9D82-2957-47B6-88DC-C85E22B06396}" destId="{4390FAB9-F659-42CD-9318-0E2FFE7C8508}" srcOrd="0" destOrd="0" presId="urn:microsoft.com/office/officeart/2005/8/layout/vList5"/>
    <dgm:cxn modelId="{1DD278B0-3937-4979-99E2-25E49603DF1A}" srcId="{13037EDD-E824-4C0B-B05C-EF229F5BD64B}" destId="{829AF5B2-85E7-4BFE-B74C-D9E39BCE91A9}" srcOrd="4" destOrd="0" parTransId="{AB3832D2-EE7F-4AB1-8785-AFB0498C4E57}" sibTransId="{BFFEA086-FE31-45FE-818B-CD8E4B3FF2FC}"/>
    <dgm:cxn modelId="{0B88B1CD-5BA6-433B-B988-56B15AFC16F9}" srcId="{13037EDD-E824-4C0B-B05C-EF229F5BD64B}" destId="{975D9D82-2957-47B6-88DC-C85E22B06396}" srcOrd="1" destOrd="0" parTransId="{DFA8033A-52D9-44AF-9CBB-59EE2512DF7A}" sibTransId="{1146A026-22CA-4759-A7B2-D4BE4BF40A53}"/>
    <dgm:cxn modelId="{76B04BD0-7FF6-493D-8ED0-8D29D50CFCD0}" srcId="{13037EDD-E824-4C0B-B05C-EF229F5BD64B}" destId="{100F280E-B639-4443-A88E-235B3DEF462F}" srcOrd="2" destOrd="0" parTransId="{0C136154-D99C-4D9C-B624-D8FA3CB8EC82}" sibTransId="{FFC3F8FE-C0A5-4E9E-A99D-131BE5E14D44}"/>
    <dgm:cxn modelId="{BBF0A1D5-AFC9-4BE9-BAEF-0787B1947F77}" type="presOf" srcId="{829AF5B2-85E7-4BFE-B74C-D9E39BCE91A9}" destId="{778BF0F2-08CB-46D9-B2D9-6C0E39F34A69}" srcOrd="0" destOrd="0" presId="urn:microsoft.com/office/officeart/2005/8/layout/vList5"/>
    <dgm:cxn modelId="{7252ADDB-CF83-40A3-BE09-06F11E44D40C}" srcId="{975D9D82-2957-47B6-88DC-C85E22B06396}" destId="{D50C0F8B-19CE-4295-8DC4-0B805606FDF8}" srcOrd="0" destOrd="0" parTransId="{ED366B32-E4E1-4629-AF6D-F7E3EEA50BFB}" sibTransId="{9D054E10-3E87-4E6D-B8EB-BFE8C2B5522A}"/>
    <dgm:cxn modelId="{B4FBCFF1-3089-43DF-B1F4-C2BD1E3EEC2B}" srcId="{13037EDD-E824-4C0B-B05C-EF229F5BD64B}" destId="{4C0DBA94-BCCE-40B9-B716-124AC4A33F0A}" srcOrd="3" destOrd="0" parTransId="{8140F17D-1A67-4162-B7AA-167264C7CDA6}" sibTransId="{100B61B1-D6D4-4978-9295-26A837A44F81}"/>
    <dgm:cxn modelId="{6E1FB7F4-F9F9-4E48-85B5-E51C5051B62C}" srcId="{13037EDD-E824-4C0B-B05C-EF229F5BD64B}" destId="{B3619033-D9A9-42B9-BEF0-FC9F1F19A12A}" srcOrd="0" destOrd="0" parTransId="{B97B9252-C457-4D0B-B27D-492B4A80E7BD}" sibTransId="{3EFBCF19-0A14-43BB-A45D-91062F8333B5}"/>
    <dgm:cxn modelId="{51C26231-D0EA-490E-8806-60E5CEA76075}" type="presParOf" srcId="{A14C4355-F9F1-4BB3-9D69-CACFCC17CDAB}" destId="{FA840125-7C5A-4B83-9887-A887D20524A1}" srcOrd="0" destOrd="0" presId="urn:microsoft.com/office/officeart/2005/8/layout/vList5"/>
    <dgm:cxn modelId="{9C6A0D73-A94E-4972-9C99-4B97E0E1529E}" type="presParOf" srcId="{FA840125-7C5A-4B83-9887-A887D20524A1}" destId="{5B317E8D-FE22-4DEF-9104-6ABBE5C967D8}" srcOrd="0" destOrd="0" presId="urn:microsoft.com/office/officeart/2005/8/layout/vList5"/>
    <dgm:cxn modelId="{196953D1-766A-43F3-AE56-A936C84F38D1}" type="presParOf" srcId="{A14C4355-F9F1-4BB3-9D69-CACFCC17CDAB}" destId="{97C60A07-E44B-45F7-9EDD-F456C5DFD485}" srcOrd="1" destOrd="0" presId="urn:microsoft.com/office/officeart/2005/8/layout/vList5"/>
    <dgm:cxn modelId="{8E3842CD-C051-49D6-B267-B58AF645293B}" type="presParOf" srcId="{A14C4355-F9F1-4BB3-9D69-CACFCC17CDAB}" destId="{16CDE250-5445-49FD-B09C-43172CB927A6}" srcOrd="2" destOrd="0" presId="urn:microsoft.com/office/officeart/2005/8/layout/vList5"/>
    <dgm:cxn modelId="{44407052-C51B-44A7-870B-F0FCE908ECE4}" type="presParOf" srcId="{16CDE250-5445-49FD-B09C-43172CB927A6}" destId="{4390FAB9-F659-42CD-9318-0E2FFE7C8508}" srcOrd="0" destOrd="0" presId="urn:microsoft.com/office/officeart/2005/8/layout/vList5"/>
    <dgm:cxn modelId="{F6616A3C-46BE-411F-89B2-CF6B15E3B405}" type="presParOf" srcId="{16CDE250-5445-49FD-B09C-43172CB927A6}" destId="{85147625-4CE7-49C4-9D1B-C066CBE13BBA}" srcOrd="1" destOrd="0" presId="urn:microsoft.com/office/officeart/2005/8/layout/vList5"/>
    <dgm:cxn modelId="{9A1DB70C-3AB9-420E-B124-4DDEDE3DCAA5}" type="presParOf" srcId="{A14C4355-F9F1-4BB3-9D69-CACFCC17CDAB}" destId="{EDA52005-DF5E-4314-ADD4-067FEBEB4ED7}" srcOrd="3" destOrd="0" presId="urn:microsoft.com/office/officeart/2005/8/layout/vList5"/>
    <dgm:cxn modelId="{3DA6F563-A788-4360-8991-68F4A4833691}" type="presParOf" srcId="{A14C4355-F9F1-4BB3-9D69-CACFCC17CDAB}" destId="{CBE840D1-1BF4-432D-90C4-FD4D5ED9A72F}" srcOrd="4" destOrd="0" presId="urn:microsoft.com/office/officeart/2005/8/layout/vList5"/>
    <dgm:cxn modelId="{75092B9E-E0E8-4AF3-BEAA-7D655D052E87}" type="presParOf" srcId="{CBE840D1-1BF4-432D-90C4-FD4D5ED9A72F}" destId="{36DA6281-FA3C-4308-AFCD-1767CA5D7DF2}" srcOrd="0" destOrd="0" presId="urn:microsoft.com/office/officeart/2005/8/layout/vList5"/>
    <dgm:cxn modelId="{B8457F8B-EF8C-47D3-98BE-CCCE8FC548C4}" type="presParOf" srcId="{CBE840D1-1BF4-432D-90C4-FD4D5ED9A72F}" destId="{E7C716BA-B55D-4D79-9779-C41E5455607D}" srcOrd="1" destOrd="0" presId="urn:microsoft.com/office/officeart/2005/8/layout/vList5"/>
    <dgm:cxn modelId="{B1D76D33-2837-4E83-B617-2F89B5BD2A25}" type="presParOf" srcId="{A14C4355-F9F1-4BB3-9D69-CACFCC17CDAB}" destId="{AD9D5AFB-A97A-4CEA-90D1-8DCE4BA057C9}" srcOrd="5" destOrd="0" presId="urn:microsoft.com/office/officeart/2005/8/layout/vList5"/>
    <dgm:cxn modelId="{DBFA30E6-CB4D-493A-934A-57B1BB509D97}" type="presParOf" srcId="{A14C4355-F9F1-4BB3-9D69-CACFCC17CDAB}" destId="{685FC7B6-9C02-4933-8481-C4F7AB123BE7}" srcOrd="6" destOrd="0" presId="urn:microsoft.com/office/officeart/2005/8/layout/vList5"/>
    <dgm:cxn modelId="{5841E331-C1A0-47A0-844C-71F2049239EC}" type="presParOf" srcId="{685FC7B6-9C02-4933-8481-C4F7AB123BE7}" destId="{E21D4320-6A66-4828-9A71-0E64A0C93F2B}" srcOrd="0" destOrd="0" presId="urn:microsoft.com/office/officeart/2005/8/layout/vList5"/>
    <dgm:cxn modelId="{DBAA3A82-90A4-43A8-9800-1533106CD66D}" type="presParOf" srcId="{685FC7B6-9C02-4933-8481-C4F7AB123BE7}" destId="{74DE595E-085B-4413-B480-40C71278253C}" srcOrd="1" destOrd="0" presId="urn:microsoft.com/office/officeart/2005/8/layout/vList5"/>
    <dgm:cxn modelId="{2BA25625-D85B-4834-8B88-5C8FA27DB3BC}" type="presParOf" srcId="{A14C4355-F9F1-4BB3-9D69-CACFCC17CDAB}" destId="{4A194895-0278-494C-9598-FF9E6293CAAF}" srcOrd="7" destOrd="0" presId="urn:microsoft.com/office/officeart/2005/8/layout/vList5"/>
    <dgm:cxn modelId="{E2CC5B48-8EB9-4358-9134-1A499667A8F1}" type="presParOf" srcId="{A14C4355-F9F1-4BB3-9D69-CACFCC17CDAB}" destId="{9916C807-F2F4-4C04-9F7F-60B5DF6B1580}" srcOrd="8" destOrd="0" presId="urn:microsoft.com/office/officeart/2005/8/layout/vList5"/>
    <dgm:cxn modelId="{387AAE34-01D1-4141-841C-FAC1865AF21D}" type="presParOf" srcId="{9916C807-F2F4-4C04-9F7F-60B5DF6B1580}" destId="{778BF0F2-08CB-46D9-B2D9-6C0E39F34A69}" srcOrd="0" destOrd="0" presId="urn:microsoft.com/office/officeart/2005/8/layout/vList5"/>
    <dgm:cxn modelId="{BDF1C190-9706-43AA-B823-62507ACBBD0C}" type="presParOf" srcId="{9916C807-F2F4-4C04-9F7F-60B5DF6B1580}" destId="{96A36EEA-9B3D-4F0A-A6BD-70E7966B7D2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CE6D1F0-D7A4-4AA7-9837-8E68196834D2}" type="doc">
      <dgm:prSet loTypeId="urn:microsoft.com/office/officeart/2016/7/layout/VerticalHollowAction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9627B03-8E71-4667-A6D7-B9FA103F5911}">
      <dgm:prSet/>
      <dgm:spPr/>
      <dgm:t>
        <a:bodyPr/>
        <a:lstStyle/>
        <a:p>
          <a:r>
            <a:rPr lang="en-US" dirty="0"/>
            <a:t>Gain</a:t>
          </a:r>
        </a:p>
      </dgm:t>
    </dgm:pt>
    <dgm:pt modelId="{CDF2393D-CB26-4313-9C4F-187271B1BC74}" type="parTrans" cxnId="{47022A2C-504D-4727-A98F-6F18CE0D4261}">
      <dgm:prSet/>
      <dgm:spPr/>
      <dgm:t>
        <a:bodyPr/>
        <a:lstStyle/>
        <a:p>
          <a:endParaRPr lang="en-US"/>
        </a:p>
      </dgm:t>
    </dgm:pt>
    <dgm:pt modelId="{97C088FA-A993-48E5-9EA9-66BFD2A8DADF}" type="sibTrans" cxnId="{47022A2C-504D-4727-A98F-6F18CE0D4261}">
      <dgm:prSet/>
      <dgm:spPr/>
      <dgm:t>
        <a:bodyPr/>
        <a:lstStyle/>
        <a:p>
          <a:endParaRPr lang="en-US"/>
        </a:p>
      </dgm:t>
    </dgm:pt>
    <dgm:pt modelId="{860C3A49-547C-43B6-8C74-CD5F24827CD4}">
      <dgm:prSet/>
      <dgm:spPr/>
      <dgm:t>
        <a:bodyPr/>
        <a:lstStyle/>
        <a:p>
          <a:r>
            <a:rPr lang="en-US" dirty="0"/>
            <a:t>proficiency in the clinical practice of pediatric emergency medicine (PEM)</a:t>
          </a:r>
        </a:p>
      </dgm:t>
    </dgm:pt>
    <dgm:pt modelId="{D03A1653-8BF1-477F-B455-5B1DE385D89B}" type="parTrans" cxnId="{97A16039-47AA-46F6-B1C9-0636819D0F45}">
      <dgm:prSet/>
      <dgm:spPr/>
      <dgm:t>
        <a:bodyPr/>
        <a:lstStyle/>
        <a:p>
          <a:endParaRPr lang="en-US"/>
        </a:p>
      </dgm:t>
    </dgm:pt>
    <dgm:pt modelId="{1BBE34D5-2691-44C1-8497-C070ACDD2EE5}" type="sibTrans" cxnId="{97A16039-47AA-46F6-B1C9-0636819D0F45}">
      <dgm:prSet/>
      <dgm:spPr/>
      <dgm:t>
        <a:bodyPr/>
        <a:lstStyle/>
        <a:p>
          <a:endParaRPr lang="en-US"/>
        </a:p>
      </dgm:t>
    </dgm:pt>
    <dgm:pt modelId="{18CF3D5F-5A97-45E3-B7EA-3D9B327158CF}">
      <dgm:prSet/>
      <dgm:spPr/>
      <dgm:t>
        <a:bodyPr/>
        <a:lstStyle/>
        <a:p>
          <a:r>
            <a:rPr lang="en-US" dirty="0"/>
            <a:t>Achieve</a:t>
          </a:r>
        </a:p>
      </dgm:t>
    </dgm:pt>
    <dgm:pt modelId="{927A6F92-9398-4F96-A679-1C9F000B3A59}" type="parTrans" cxnId="{ACE095A5-B628-47DB-81E7-95E86E40415F}">
      <dgm:prSet/>
      <dgm:spPr/>
      <dgm:t>
        <a:bodyPr/>
        <a:lstStyle/>
        <a:p>
          <a:endParaRPr lang="en-US"/>
        </a:p>
      </dgm:t>
    </dgm:pt>
    <dgm:pt modelId="{BD2D37B2-B409-4685-ADCA-7D04701A1FC2}" type="sibTrans" cxnId="{ACE095A5-B628-47DB-81E7-95E86E40415F}">
      <dgm:prSet/>
      <dgm:spPr/>
      <dgm:t>
        <a:bodyPr/>
        <a:lstStyle/>
        <a:p>
          <a:endParaRPr lang="en-US"/>
        </a:p>
      </dgm:t>
    </dgm:pt>
    <dgm:pt modelId="{60B2558B-DDD7-439F-A7C0-CD38E7DA32E2}">
      <dgm:prSet/>
      <dgm:spPr/>
      <dgm:t>
        <a:bodyPr/>
        <a:lstStyle/>
        <a:p>
          <a:r>
            <a:rPr lang="en-US" dirty="0"/>
            <a:t>competency in educating other health care providers and families</a:t>
          </a:r>
        </a:p>
      </dgm:t>
    </dgm:pt>
    <dgm:pt modelId="{06BDA500-86C0-4EFC-B6B2-53136387A21B}" type="parTrans" cxnId="{F13CF51A-9A27-4E71-8170-91CB8770ADEF}">
      <dgm:prSet/>
      <dgm:spPr/>
      <dgm:t>
        <a:bodyPr/>
        <a:lstStyle/>
        <a:p>
          <a:endParaRPr lang="en-US"/>
        </a:p>
      </dgm:t>
    </dgm:pt>
    <dgm:pt modelId="{4CED1EAB-91DC-4A63-BE28-298EC5B66538}" type="sibTrans" cxnId="{F13CF51A-9A27-4E71-8170-91CB8770ADEF}">
      <dgm:prSet/>
      <dgm:spPr/>
      <dgm:t>
        <a:bodyPr/>
        <a:lstStyle/>
        <a:p>
          <a:endParaRPr lang="en-US"/>
        </a:p>
      </dgm:t>
    </dgm:pt>
    <dgm:pt modelId="{A746CC4B-DC88-46B3-ADD0-571649FC1DAE}">
      <dgm:prSet/>
      <dgm:spPr/>
      <dgm:t>
        <a:bodyPr/>
        <a:lstStyle/>
        <a:p>
          <a:r>
            <a:rPr lang="en-US"/>
            <a:t>Approach</a:t>
          </a:r>
        </a:p>
      </dgm:t>
    </dgm:pt>
    <dgm:pt modelId="{2321FD30-A965-4981-91B3-9DD185D6B820}" type="parTrans" cxnId="{C44A5FF5-5A01-4F98-8129-1977F84BED33}">
      <dgm:prSet/>
      <dgm:spPr/>
      <dgm:t>
        <a:bodyPr/>
        <a:lstStyle/>
        <a:p>
          <a:endParaRPr lang="en-US"/>
        </a:p>
      </dgm:t>
    </dgm:pt>
    <dgm:pt modelId="{0BABBF49-4472-43C9-85C4-6FA0A173C27E}" type="sibTrans" cxnId="{C44A5FF5-5A01-4F98-8129-1977F84BED33}">
      <dgm:prSet/>
      <dgm:spPr/>
      <dgm:t>
        <a:bodyPr/>
        <a:lstStyle/>
        <a:p>
          <a:endParaRPr lang="en-US"/>
        </a:p>
      </dgm:t>
    </dgm:pt>
    <dgm:pt modelId="{7A6C39AE-6B93-4F45-AF53-302F1883719B}">
      <dgm:prSet/>
      <dgm:spPr/>
      <dgm:t>
        <a:bodyPr/>
        <a:lstStyle/>
        <a:p>
          <a:r>
            <a:rPr lang="en-US" dirty="0"/>
            <a:t>everyday work in a scholarly way</a:t>
          </a:r>
        </a:p>
      </dgm:t>
    </dgm:pt>
    <dgm:pt modelId="{0715EF11-C66B-4D1E-9757-F5AD6B5549C8}" type="parTrans" cxnId="{52A7D2AB-74C8-4AAE-93AB-3F1C5F877FB5}">
      <dgm:prSet/>
      <dgm:spPr/>
      <dgm:t>
        <a:bodyPr/>
        <a:lstStyle/>
        <a:p>
          <a:endParaRPr lang="en-US"/>
        </a:p>
      </dgm:t>
    </dgm:pt>
    <dgm:pt modelId="{C14D85EB-C7C6-471C-B4E2-D58CA77CA59E}" type="sibTrans" cxnId="{52A7D2AB-74C8-4AAE-93AB-3F1C5F877FB5}">
      <dgm:prSet/>
      <dgm:spPr/>
      <dgm:t>
        <a:bodyPr/>
        <a:lstStyle/>
        <a:p>
          <a:endParaRPr lang="en-US"/>
        </a:p>
      </dgm:t>
    </dgm:pt>
    <dgm:pt modelId="{F97BEA3B-5E95-4FBD-9BE7-C31D40A190D7}">
      <dgm:prSet/>
      <dgm:spPr/>
      <dgm:t>
        <a:bodyPr/>
        <a:lstStyle/>
        <a:p>
          <a:r>
            <a:rPr lang="en-US" dirty="0"/>
            <a:t>Develop</a:t>
          </a:r>
        </a:p>
      </dgm:t>
    </dgm:pt>
    <dgm:pt modelId="{110A679B-3F07-462D-B4B1-39A3D264C42E}" type="parTrans" cxnId="{C20C01A6-6866-4DA7-84C4-A57E138EA332}">
      <dgm:prSet/>
      <dgm:spPr/>
      <dgm:t>
        <a:bodyPr/>
        <a:lstStyle/>
        <a:p>
          <a:endParaRPr lang="en-US"/>
        </a:p>
      </dgm:t>
    </dgm:pt>
    <dgm:pt modelId="{0D173605-C7EF-4300-8C85-B34CE91BBB6C}" type="sibTrans" cxnId="{C20C01A6-6866-4DA7-84C4-A57E138EA332}">
      <dgm:prSet/>
      <dgm:spPr/>
      <dgm:t>
        <a:bodyPr/>
        <a:lstStyle/>
        <a:p>
          <a:endParaRPr lang="en-US"/>
        </a:p>
      </dgm:t>
    </dgm:pt>
    <dgm:pt modelId="{50E6B067-2CDC-4B2F-92A6-913608B74AAB}">
      <dgm:prSet/>
      <dgm:spPr/>
      <dgm:t>
        <a:bodyPr/>
        <a:lstStyle/>
        <a:p>
          <a:r>
            <a:rPr lang="en-US" dirty="0"/>
            <a:t>familiarity with administrative issues</a:t>
          </a:r>
        </a:p>
      </dgm:t>
    </dgm:pt>
    <dgm:pt modelId="{74B4B115-498A-4DE8-A21E-5E09EDCFA930}" type="parTrans" cxnId="{E7C496F6-C8E9-4EED-91E0-F42E186A4110}">
      <dgm:prSet/>
      <dgm:spPr/>
      <dgm:t>
        <a:bodyPr/>
        <a:lstStyle/>
        <a:p>
          <a:endParaRPr lang="en-US"/>
        </a:p>
      </dgm:t>
    </dgm:pt>
    <dgm:pt modelId="{EBFA5E63-74E0-44A8-8F39-B0EB30965813}" type="sibTrans" cxnId="{E7C496F6-C8E9-4EED-91E0-F42E186A4110}">
      <dgm:prSet/>
      <dgm:spPr/>
      <dgm:t>
        <a:bodyPr/>
        <a:lstStyle/>
        <a:p>
          <a:endParaRPr lang="en-US"/>
        </a:p>
      </dgm:t>
    </dgm:pt>
    <dgm:pt modelId="{BB3E5A09-B961-4808-8E7A-60B57FB90719}">
      <dgm:prSet/>
      <dgm:spPr/>
      <dgm:t>
        <a:bodyPr/>
        <a:lstStyle/>
        <a:p>
          <a:r>
            <a:rPr lang="en-US"/>
            <a:t>Prepare</a:t>
          </a:r>
        </a:p>
      </dgm:t>
    </dgm:pt>
    <dgm:pt modelId="{6E6C8589-FC1D-49D2-ADEC-18F3162BE445}" type="parTrans" cxnId="{1977136C-702B-4D14-BED2-0B4A3A956B7D}">
      <dgm:prSet/>
      <dgm:spPr/>
      <dgm:t>
        <a:bodyPr/>
        <a:lstStyle/>
        <a:p>
          <a:endParaRPr lang="en-US"/>
        </a:p>
      </dgm:t>
    </dgm:pt>
    <dgm:pt modelId="{E1875FAC-64D7-45E5-8812-31DA8789937E}" type="sibTrans" cxnId="{1977136C-702B-4D14-BED2-0B4A3A956B7D}">
      <dgm:prSet/>
      <dgm:spPr/>
      <dgm:t>
        <a:bodyPr/>
        <a:lstStyle/>
        <a:p>
          <a:endParaRPr lang="en-US"/>
        </a:p>
      </dgm:t>
    </dgm:pt>
    <dgm:pt modelId="{C50FB8A6-E8A1-4184-840A-1F881DEF6E92}">
      <dgm:prSet/>
      <dgm:spPr/>
      <dgm:t>
        <a:bodyPr/>
        <a:lstStyle/>
        <a:p>
          <a:r>
            <a:rPr lang="en-US" dirty="0"/>
            <a:t>for a career in PEM</a:t>
          </a:r>
        </a:p>
      </dgm:t>
    </dgm:pt>
    <dgm:pt modelId="{3F6239FC-6623-4A37-8A99-71AA1A4BF7A0}" type="parTrans" cxnId="{DFF696C0-538C-44EC-9E74-F9781C77B635}">
      <dgm:prSet/>
      <dgm:spPr/>
      <dgm:t>
        <a:bodyPr/>
        <a:lstStyle/>
        <a:p>
          <a:endParaRPr lang="en-US"/>
        </a:p>
      </dgm:t>
    </dgm:pt>
    <dgm:pt modelId="{1E286A17-F5A5-4A3A-A1BC-566D89B16763}" type="sibTrans" cxnId="{DFF696C0-538C-44EC-9E74-F9781C77B635}">
      <dgm:prSet/>
      <dgm:spPr/>
      <dgm:t>
        <a:bodyPr/>
        <a:lstStyle/>
        <a:p>
          <a:endParaRPr lang="en-US"/>
        </a:p>
      </dgm:t>
    </dgm:pt>
    <dgm:pt modelId="{036D4674-4987-4D23-9C60-284A53EF0BF9}" type="pres">
      <dgm:prSet presAssocID="{5CE6D1F0-D7A4-4AA7-9837-8E68196834D2}" presName="Name0" presStyleCnt="0">
        <dgm:presLayoutVars>
          <dgm:dir/>
          <dgm:animLvl val="lvl"/>
          <dgm:resizeHandles val="exact"/>
        </dgm:presLayoutVars>
      </dgm:prSet>
      <dgm:spPr/>
    </dgm:pt>
    <dgm:pt modelId="{B66313BB-A3CF-4820-8362-2D7E85C662C8}" type="pres">
      <dgm:prSet presAssocID="{49627B03-8E71-4667-A6D7-B9FA103F5911}" presName="linNode" presStyleCnt="0"/>
      <dgm:spPr/>
    </dgm:pt>
    <dgm:pt modelId="{C428C824-FE27-427D-BBE5-A490B1F0B75F}" type="pres">
      <dgm:prSet presAssocID="{49627B03-8E71-4667-A6D7-B9FA103F5911}" presName="parentText" presStyleLbl="solidFgAcc1" presStyleIdx="0" presStyleCnt="5">
        <dgm:presLayoutVars>
          <dgm:chMax val="1"/>
          <dgm:bulletEnabled/>
        </dgm:presLayoutVars>
      </dgm:prSet>
      <dgm:spPr/>
    </dgm:pt>
    <dgm:pt modelId="{8216FA17-DDC9-4C24-B969-19441A29DCD5}" type="pres">
      <dgm:prSet presAssocID="{49627B03-8E71-4667-A6D7-B9FA103F5911}" presName="descendantText" presStyleLbl="alignNode1" presStyleIdx="0" presStyleCnt="5">
        <dgm:presLayoutVars>
          <dgm:bulletEnabled/>
        </dgm:presLayoutVars>
      </dgm:prSet>
      <dgm:spPr/>
    </dgm:pt>
    <dgm:pt modelId="{1DD3A44E-FDE9-4BAB-A654-64B04A38A07B}" type="pres">
      <dgm:prSet presAssocID="{97C088FA-A993-48E5-9EA9-66BFD2A8DADF}" presName="sp" presStyleCnt="0"/>
      <dgm:spPr/>
    </dgm:pt>
    <dgm:pt modelId="{9432071C-7DA8-48C1-96B3-7767CEE2D158}" type="pres">
      <dgm:prSet presAssocID="{18CF3D5F-5A97-45E3-B7EA-3D9B327158CF}" presName="linNode" presStyleCnt="0"/>
      <dgm:spPr/>
    </dgm:pt>
    <dgm:pt modelId="{9F8F6E6B-7753-46B4-B6F1-707B0C69D26F}" type="pres">
      <dgm:prSet presAssocID="{18CF3D5F-5A97-45E3-B7EA-3D9B327158CF}" presName="parentText" presStyleLbl="solidFgAcc1" presStyleIdx="1" presStyleCnt="5">
        <dgm:presLayoutVars>
          <dgm:chMax val="1"/>
          <dgm:bulletEnabled/>
        </dgm:presLayoutVars>
      </dgm:prSet>
      <dgm:spPr/>
    </dgm:pt>
    <dgm:pt modelId="{26453036-9F44-47E1-818B-8A40D04F9279}" type="pres">
      <dgm:prSet presAssocID="{18CF3D5F-5A97-45E3-B7EA-3D9B327158CF}" presName="descendantText" presStyleLbl="alignNode1" presStyleIdx="1" presStyleCnt="5">
        <dgm:presLayoutVars>
          <dgm:bulletEnabled/>
        </dgm:presLayoutVars>
      </dgm:prSet>
      <dgm:spPr/>
    </dgm:pt>
    <dgm:pt modelId="{E1E8BCB9-DA8B-4DE0-AE94-B298B136A293}" type="pres">
      <dgm:prSet presAssocID="{BD2D37B2-B409-4685-ADCA-7D04701A1FC2}" presName="sp" presStyleCnt="0"/>
      <dgm:spPr/>
    </dgm:pt>
    <dgm:pt modelId="{FCB37D6E-30DB-4A1E-A9DD-D8C7FA12634C}" type="pres">
      <dgm:prSet presAssocID="{A746CC4B-DC88-46B3-ADD0-571649FC1DAE}" presName="linNode" presStyleCnt="0"/>
      <dgm:spPr/>
    </dgm:pt>
    <dgm:pt modelId="{E2B1C3A2-77A1-4A0E-9EA5-EC882B672ACA}" type="pres">
      <dgm:prSet presAssocID="{A746CC4B-DC88-46B3-ADD0-571649FC1DAE}" presName="parentText" presStyleLbl="solidFgAcc1" presStyleIdx="2" presStyleCnt="5">
        <dgm:presLayoutVars>
          <dgm:chMax val="1"/>
          <dgm:bulletEnabled/>
        </dgm:presLayoutVars>
      </dgm:prSet>
      <dgm:spPr/>
    </dgm:pt>
    <dgm:pt modelId="{91268AA8-39D6-4DC5-9F6C-9079868EF29D}" type="pres">
      <dgm:prSet presAssocID="{A746CC4B-DC88-46B3-ADD0-571649FC1DAE}" presName="descendantText" presStyleLbl="alignNode1" presStyleIdx="2" presStyleCnt="5">
        <dgm:presLayoutVars>
          <dgm:bulletEnabled/>
        </dgm:presLayoutVars>
      </dgm:prSet>
      <dgm:spPr/>
    </dgm:pt>
    <dgm:pt modelId="{D453901F-6687-4859-B5CC-2ACA09B97963}" type="pres">
      <dgm:prSet presAssocID="{0BABBF49-4472-43C9-85C4-6FA0A173C27E}" presName="sp" presStyleCnt="0"/>
      <dgm:spPr/>
    </dgm:pt>
    <dgm:pt modelId="{F83D461E-5959-41D7-84FD-EB8B3A492A46}" type="pres">
      <dgm:prSet presAssocID="{F97BEA3B-5E95-4FBD-9BE7-C31D40A190D7}" presName="linNode" presStyleCnt="0"/>
      <dgm:spPr/>
    </dgm:pt>
    <dgm:pt modelId="{18495DE7-FBD3-4CB7-BED0-6BDD8144D920}" type="pres">
      <dgm:prSet presAssocID="{F97BEA3B-5E95-4FBD-9BE7-C31D40A190D7}" presName="parentText" presStyleLbl="solidFgAcc1" presStyleIdx="3" presStyleCnt="5">
        <dgm:presLayoutVars>
          <dgm:chMax val="1"/>
          <dgm:bulletEnabled/>
        </dgm:presLayoutVars>
      </dgm:prSet>
      <dgm:spPr/>
    </dgm:pt>
    <dgm:pt modelId="{D60C6473-0BEC-4CCA-BCF3-B198A507072B}" type="pres">
      <dgm:prSet presAssocID="{F97BEA3B-5E95-4FBD-9BE7-C31D40A190D7}" presName="descendantText" presStyleLbl="alignNode1" presStyleIdx="3" presStyleCnt="5">
        <dgm:presLayoutVars>
          <dgm:bulletEnabled/>
        </dgm:presLayoutVars>
      </dgm:prSet>
      <dgm:spPr/>
    </dgm:pt>
    <dgm:pt modelId="{F7B121B9-38BE-45FD-A43B-AF8F276BB401}" type="pres">
      <dgm:prSet presAssocID="{0D173605-C7EF-4300-8C85-B34CE91BBB6C}" presName="sp" presStyleCnt="0"/>
      <dgm:spPr/>
    </dgm:pt>
    <dgm:pt modelId="{32661577-3C90-4EBC-9BC5-3C43E2917B38}" type="pres">
      <dgm:prSet presAssocID="{BB3E5A09-B961-4808-8E7A-60B57FB90719}" presName="linNode" presStyleCnt="0"/>
      <dgm:spPr/>
    </dgm:pt>
    <dgm:pt modelId="{0D65DACA-2220-4BBB-A9FC-B3F0298CE804}" type="pres">
      <dgm:prSet presAssocID="{BB3E5A09-B961-4808-8E7A-60B57FB90719}" presName="parentText" presStyleLbl="solidFgAcc1" presStyleIdx="4" presStyleCnt="5">
        <dgm:presLayoutVars>
          <dgm:chMax val="1"/>
          <dgm:bulletEnabled/>
        </dgm:presLayoutVars>
      </dgm:prSet>
      <dgm:spPr/>
    </dgm:pt>
    <dgm:pt modelId="{AB1D43D3-29CF-4B01-BAF8-634369F7728D}" type="pres">
      <dgm:prSet presAssocID="{BB3E5A09-B961-4808-8E7A-60B57FB90719}" presName="descendantText" presStyleLbl="alignNode1" presStyleIdx="4" presStyleCnt="5">
        <dgm:presLayoutVars>
          <dgm:bulletEnabled/>
        </dgm:presLayoutVars>
      </dgm:prSet>
      <dgm:spPr/>
    </dgm:pt>
  </dgm:ptLst>
  <dgm:cxnLst>
    <dgm:cxn modelId="{F13CF51A-9A27-4E71-8170-91CB8770ADEF}" srcId="{18CF3D5F-5A97-45E3-B7EA-3D9B327158CF}" destId="{60B2558B-DDD7-439F-A7C0-CD38E7DA32E2}" srcOrd="0" destOrd="0" parTransId="{06BDA500-86C0-4EFC-B6B2-53136387A21B}" sibTransId="{4CED1EAB-91DC-4A63-BE28-298EC5B66538}"/>
    <dgm:cxn modelId="{47022A2C-504D-4727-A98F-6F18CE0D4261}" srcId="{5CE6D1F0-D7A4-4AA7-9837-8E68196834D2}" destId="{49627B03-8E71-4667-A6D7-B9FA103F5911}" srcOrd="0" destOrd="0" parTransId="{CDF2393D-CB26-4313-9C4F-187271B1BC74}" sibTransId="{97C088FA-A993-48E5-9EA9-66BFD2A8DADF}"/>
    <dgm:cxn modelId="{97A16039-47AA-46F6-B1C9-0636819D0F45}" srcId="{49627B03-8E71-4667-A6D7-B9FA103F5911}" destId="{860C3A49-547C-43B6-8C74-CD5F24827CD4}" srcOrd="0" destOrd="0" parTransId="{D03A1653-8BF1-477F-B455-5B1DE385D89B}" sibTransId="{1BBE34D5-2691-44C1-8497-C070ACDD2EE5}"/>
    <dgm:cxn modelId="{BD40AA59-62C2-43F9-B2C7-F9EE2F16B6CF}" type="presOf" srcId="{A746CC4B-DC88-46B3-ADD0-571649FC1DAE}" destId="{E2B1C3A2-77A1-4A0E-9EA5-EC882B672ACA}" srcOrd="0" destOrd="0" presId="urn:microsoft.com/office/officeart/2016/7/layout/VerticalHollowActionList"/>
    <dgm:cxn modelId="{D8D2F164-6002-4FC3-9494-CD0EE08F6A61}" type="presOf" srcId="{860C3A49-547C-43B6-8C74-CD5F24827CD4}" destId="{8216FA17-DDC9-4C24-B969-19441A29DCD5}" srcOrd="0" destOrd="0" presId="urn:microsoft.com/office/officeart/2016/7/layout/VerticalHollowActionList"/>
    <dgm:cxn modelId="{0A409D66-6C07-4000-964E-2AA7AF9C67E7}" type="presOf" srcId="{50E6B067-2CDC-4B2F-92A6-913608B74AAB}" destId="{D60C6473-0BEC-4CCA-BCF3-B198A507072B}" srcOrd="0" destOrd="0" presId="urn:microsoft.com/office/officeart/2016/7/layout/VerticalHollowActionList"/>
    <dgm:cxn modelId="{9FE4736A-9023-415B-98EF-3928E1A14ABF}" type="presOf" srcId="{60B2558B-DDD7-439F-A7C0-CD38E7DA32E2}" destId="{26453036-9F44-47E1-818B-8A40D04F9279}" srcOrd="0" destOrd="0" presId="urn:microsoft.com/office/officeart/2016/7/layout/VerticalHollowActionList"/>
    <dgm:cxn modelId="{1977136C-702B-4D14-BED2-0B4A3A956B7D}" srcId="{5CE6D1F0-D7A4-4AA7-9837-8E68196834D2}" destId="{BB3E5A09-B961-4808-8E7A-60B57FB90719}" srcOrd="4" destOrd="0" parTransId="{6E6C8589-FC1D-49D2-ADEC-18F3162BE445}" sibTransId="{E1875FAC-64D7-45E5-8812-31DA8789937E}"/>
    <dgm:cxn modelId="{AD39A584-2B8C-4847-9138-A2A79284E78C}" type="presOf" srcId="{C50FB8A6-E8A1-4184-840A-1F881DEF6E92}" destId="{AB1D43D3-29CF-4B01-BAF8-634369F7728D}" srcOrd="0" destOrd="0" presId="urn:microsoft.com/office/officeart/2016/7/layout/VerticalHollowActionList"/>
    <dgm:cxn modelId="{1D7FB98D-5CB1-4C82-B3DE-A3D3D83A785C}" type="presOf" srcId="{18CF3D5F-5A97-45E3-B7EA-3D9B327158CF}" destId="{9F8F6E6B-7753-46B4-B6F1-707B0C69D26F}" srcOrd="0" destOrd="0" presId="urn:microsoft.com/office/officeart/2016/7/layout/VerticalHollowActionList"/>
    <dgm:cxn modelId="{ACE095A5-B628-47DB-81E7-95E86E40415F}" srcId="{5CE6D1F0-D7A4-4AA7-9837-8E68196834D2}" destId="{18CF3D5F-5A97-45E3-B7EA-3D9B327158CF}" srcOrd="1" destOrd="0" parTransId="{927A6F92-9398-4F96-A679-1C9F000B3A59}" sibTransId="{BD2D37B2-B409-4685-ADCA-7D04701A1FC2}"/>
    <dgm:cxn modelId="{C20C01A6-6866-4DA7-84C4-A57E138EA332}" srcId="{5CE6D1F0-D7A4-4AA7-9837-8E68196834D2}" destId="{F97BEA3B-5E95-4FBD-9BE7-C31D40A190D7}" srcOrd="3" destOrd="0" parTransId="{110A679B-3F07-462D-B4B1-39A3D264C42E}" sibTransId="{0D173605-C7EF-4300-8C85-B34CE91BBB6C}"/>
    <dgm:cxn modelId="{7E1F2AAB-57CE-461D-99A3-5061F030E9B5}" type="presOf" srcId="{5CE6D1F0-D7A4-4AA7-9837-8E68196834D2}" destId="{036D4674-4987-4D23-9C60-284A53EF0BF9}" srcOrd="0" destOrd="0" presId="urn:microsoft.com/office/officeart/2016/7/layout/VerticalHollowActionList"/>
    <dgm:cxn modelId="{52A7D2AB-74C8-4AAE-93AB-3F1C5F877FB5}" srcId="{A746CC4B-DC88-46B3-ADD0-571649FC1DAE}" destId="{7A6C39AE-6B93-4F45-AF53-302F1883719B}" srcOrd="0" destOrd="0" parTransId="{0715EF11-C66B-4D1E-9757-F5AD6B5549C8}" sibTransId="{C14D85EB-C7C6-471C-B4E2-D58CA77CA59E}"/>
    <dgm:cxn modelId="{4A422EAF-B50A-4FFC-B481-EE8F2F802EA8}" type="presOf" srcId="{49627B03-8E71-4667-A6D7-B9FA103F5911}" destId="{C428C824-FE27-427D-BBE5-A490B1F0B75F}" srcOrd="0" destOrd="0" presId="urn:microsoft.com/office/officeart/2016/7/layout/VerticalHollowActionList"/>
    <dgm:cxn modelId="{DFF696C0-538C-44EC-9E74-F9781C77B635}" srcId="{BB3E5A09-B961-4808-8E7A-60B57FB90719}" destId="{C50FB8A6-E8A1-4184-840A-1F881DEF6E92}" srcOrd="0" destOrd="0" parTransId="{3F6239FC-6623-4A37-8A99-71AA1A4BF7A0}" sibTransId="{1E286A17-F5A5-4A3A-A1BC-566D89B16763}"/>
    <dgm:cxn modelId="{C5A92ED8-0D63-4F24-BE7B-5BDD63CA1390}" type="presOf" srcId="{F97BEA3B-5E95-4FBD-9BE7-C31D40A190D7}" destId="{18495DE7-FBD3-4CB7-BED0-6BDD8144D920}" srcOrd="0" destOrd="0" presId="urn:microsoft.com/office/officeart/2016/7/layout/VerticalHollowActionList"/>
    <dgm:cxn modelId="{F96BDAD8-7434-402A-9AC8-D5F33B3147B8}" type="presOf" srcId="{BB3E5A09-B961-4808-8E7A-60B57FB90719}" destId="{0D65DACA-2220-4BBB-A9FC-B3F0298CE804}" srcOrd="0" destOrd="0" presId="urn:microsoft.com/office/officeart/2016/7/layout/VerticalHollowActionList"/>
    <dgm:cxn modelId="{CE235EE2-FEB3-4FC1-B082-25CCE3E81037}" type="presOf" srcId="{7A6C39AE-6B93-4F45-AF53-302F1883719B}" destId="{91268AA8-39D6-4DC5-9F6C-9079868EF29D}" srcOrd="0" destOrd="0" presId="urn:microsoft.com/office/officeart/2016/7/layout/VerticalHollowActionList"/>
    <dgm:cxn modelId="{C44A5FF5-5A01-4F98-8129-1977F84BED33}" srcId="{5CE6D1F0-D7A4-4AA7-9837-8E68196834D2}" destId="{A746CC4B-DC88-46B3-ADD0-571649FC1DAE}" srcOrd="2" destOrd="0" parTransId="{2321FD30-A965-4981-91B3-9DD185D6B820}" sibTransId="{0BABBF49-4472-43C9-85C4-6FA0A173C27E}"/>
    <dgm:cxn modelId="{E7C496F6-C8E9-4EED-91E0-F42E186A4110}" srcId="{F97BEA3B-5E95-4FBD-9BE7-C31D40A190D7}" destId="{50E6B067-2CDC-4B2F-92A6-913608B74AAB}" srcOrd="0" destOrd="0" parTransId="{74B4B115-498A-4DE8-A21E-5E09EDCFA930}" sibTransId="{EBFA5E63-74E0-44A8-8F39-B0EB30965813}"/>
    <dgm:cxn modelId="{1FC77B3D-5AF1-4C56-9E14-36D87B93C1AE}" type="presParOf" srcId="{036D4674-4987-4D23-9C60-284A53EF0BF9}" destId="{B66313BB-A3CF-4820-8362-2D7E85C662C8}" srcOrd="0" destOrd="0" presId="urn:microsoft.com/office/officeart/2016/7/layout/VerticalHollowActionList"/>
    <dgm:cxn modelId="{1AD0F6A1-7931-410B-9F36-A5E2D7E811B0}" type="presParOf" srcId="{B66313BB-A3CF-4820-8362-2D7E85C662C8}" destId="{C428C824-FE27-427D-BBE5-A490B1F0B75F}" srcOrd="0" destOrd="0" presId="urn:microsoft.com/office/officeart/2016/7/layout/VerticalHollowActionList"/>
    <dgm:cxn modelId="{44385F5D-F52A-4852-B999-F0E02AD2191D}" type="presParOf" srcId="{B66313BB-A3CF-4820-8362-2D7E85C662C8}" destId="{8216FA17-DDC9-4C24-B969-19441A29DCD5}" srcOrd="1" destOrd="0" presId="urn:microsoft.com/office/officeart/2016/7/layout/VerticalHollowActionList"/>
    <dgm:cxn modelId="{294015DF-7BF5-4117-86C3-4CF55A9FA2EA}" type="presParOf" srcId="{036D4674-4987-4D23-9C60-284A53EF0BF9}" destId="{1DD3A44E-FDE9-4BAB-A654-64B04A38A07B}" srcOrd="1" destOrd="0" presId="urn:microsoft.com/office/officeart/2016/7/layout/VerticalHollowActionList"/>
    <dgm:cxn modelId="{68CF84B5-A82C-4E46-93B7-91B304A2DCC6}" type="presParOf" srcId="{036D4674-4987-4D23-9C60-284A53EF0BF9}" destId="{9432071C-7DA8-48C1-96B3-7767CEE2D158}" srcOrd="2" destOrd="0" presId="urn:microsoft.com/office/officeart/2016/7/layout/VerticalHollowActionList"/>
    <dgm:cxn modelId="{83208992-8C69-4F61-9A0F-E5BC154AD1AE}" type="presParOf" srcId="{9432071C-7DA8-48C1-96B3-7767CEE2D158}" destId="{9F8F6E6B-7753-46B4-B6F1-707B0C69D26F}" srcOrd="0" destOrd="0" presId="urn:microsoft.com/office/officeart/2016/7/layout/VerticalHollowActionList"/>
    <dgm:cxn modelId="{23C4643E-8B05-4E21-B869-C362D3B0D07C}" type="presParOf" srcId="{9432071C-7DA8-48C1-96B3-7767CEE2D158}" destId="{26453036-9F44-47E1-818B-8A40D04F9279}" srcOrd="1" destOrd="0" presId="urn:microsoft.com/office/officeart/2016/7/layout/VerticalHollowActionList"/>
    <dgm:cxn modelId="{01D12486-BB9A-4AA8-8128-37274C3F090E}" type="presParOf" srcId="{036D4674-4987-4D23-9C60-284A53EF0BF9}" destId="{E1E8BCB9-DA8B-4DE0-AE94-B298B136A293}" srcOrd="3" destOrd="0" presId="urn:microsoft.com/office/officeart/2016/7/layout/VerticalHollowActionList"/>
    <dgm:cxn modelId="{B1CD906A-2AC1-43FF-A8D8-9289F343E979}" type="presParOf" srcId="{036D4674-4987-4D23-9C60-284A53EF0BF9}" destId="{FCB37D6E-30DB-4A1E-A9DD-D8C7FA12634C}" srcOrd="4" destOrd="0" presId="urn:microsoft.com/office/officeart/2016/7/layout/VerticalHollowActionList"/>
    <dgm:cxn modelId="{7EBF7131-C9AB-4DB5-AEDD-1B1EDDCBED39}" type="presParOf" srcId="{FCB37D6E-30DB-4A1E-A9DD-D8C7FA12634C}" destId="{E2B1C3A2-77A1-4A0E-9EA5-EC882B672ACA}" srcOrd="0" destOrd="0" presId="urn:microsoft.com/office/officeart/2016/7/layout/VerticalHollowActionList"/>
    <dgm:cxn modelId="{F435411F-DAFC-499F-AB93-6E7629EC289C}" type="presParOf" srcId="{FCB37D6E-30DB-4A1E-A9DD-D8C7FA12634C}" destId="{91268AA8-39D6-4DC5-9F6C-9079868EF29D}" srcOrd="1" destOrd="0" presId="urn:microsoft.com/office/officeart/2016/7/layout/VerticalHollowActionList"/>
    <dgm:cxn modelId="{7B43BDCB-99E0-4EFE-A2A4-94258BD6C3DE}" type="presParOf" srcId="{036D4674-4987-4D23-9C60-284A53EF0BF9}" destId="{D453901F-6687-4859-B5CC-2ACA09B97963}" srcOrd="5" destOrd="0" presId="urn:microsoft.com/office/officeart/2016/7/layout/VerticalHollowActionList"/>
    <dgm:cxn modelId="{B3131CCB-3EB3-480B-912A-97DEA9152CD5}" type="presParOf" srcId="{036D4674-4987-4D23-9C60-284A53EF0BF9}" destId="{F83D461E-5959-41D7-84FD-EB8B3A492A46}" srcOrd="6" destOrd="0" presId="urn:microsoft.com/office/officeart/2016/7/layout/VerticalHollowActionList"/>
    <dgm:cxn modelId="{1F8EEAB2-4944-48F8-B4DD-21767F2943CB}" type="presParOf" srcId="{F83D461E-5959-41D7-84FD-EB8B3A492A46}" destId="{18495DE7-FBD3-4CB7-BED0-6BDD8144D920}" srcOrd="0" destOrd="0" presId="urn:microsoft.com/office/officeart/2016/7/layout/VerticalHollowActionList"/>
    <dgm:cxn modelId="{D71BDC7F-B2D1-4B6E-8C95-29AA661E5CC2}" type="presParOf" srcId="{F83D461E-5959-41D7-84FD-EB8B3A492A46}" destId="{D60C6473-0BEC-4CCA-BCF3-B198A507072B}" srcOrd="1" destOrd="0" presId="urn:microsoft.com/office/officeart/2016/7/layout/VerticalHollowActionList"/>
    <dgm:cxn modelId="{1D43130A-3E3A-44EE-9439-0B75962EC099}" type="presParOf" srcId="{036D4674-4987-4D23-9C60-284A53EF0BF9}" destId="{F7B121B9-38BE-45FD-A43B-AF8F276BB401}" srcOrd="7" destOrd="0" presId="urn:microsoft.com/office/officeart/2016/7/layout/VerticalHollowActionList"/>
    <dgm:cxn modelId="{0729515E-345D-4EB9-802E-D1A74F9C0812}" type="presParOf" srcId="{036D4674-4987-4D23-9C60-284A53EF0BF9}" destId="{32661577-3C90-4EBC-9BC5-3C43E2917B38}" srcOrd="8" destOrd="0" presId="urn:microsoft.com/office/officeart/2016/7/layout/VerticalHollowActionList"/>
    <dgm:cxn modelId="{FFA09683-88AA-43A7-962C-5D2949C3FBA6}" type="presParOf" srcId="{32661577-3C90-4EBC-9BC5-3C43E2917B38}" destId="{0D65DACA-2220-4BBB-A9FC-B3F0298CE804}" srcOrd="0" destOrd="0" presId="urn:microsoft.com/office/officeart/2016/7/layout/VerticalHollowActionList"/>
    <dgm:cxn modelId="{5105B23D-2472-4CA0-BA87-83808E9A2C9A}" type="presParOf" srcId="{32661577-3C90-4EBC-9BC5-3C43E2917B38}" destId="{AB1D43D3-29CF-4B01-BAF8-634369F7728D}" srcOrd="1" destOrd="0" presId="urn:microsoft.com/office/officeart/2016/7/layout/VerticalHollowAc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DD3854C2-B39B-4415-B33F-15BE37434183}" type="doc">
      <dgm:prSet loTypeId="urn:microsoft.com/office/officeart/2008/layout/VerticalAccentLis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D82E92A0-1F36-4A5C-8CD0-EFDBED09AF09}">
      <dgm:prSet/>
      <dgm:spPr/>
      <dgm:t>
        <a:bodyPr/>
        <a:lstStyle/>
        <a:p>
          <a:pPr rtl="0"/>
          <a:r>
            <a:rPr lang="en-US" dirty="0"/>
            <a:t>Clinical practice</a:t>
          </a:r>
        </a:p>
      </dgm:t>
    </dgm:pt>
    <dgm:pt modelId="{B8815DAB-3B1A-465B-9E52-56B6704D86A5}" type="parTrans" cxnId="{B19952AC-14E8-49BB-B789-F6EEFED1810F}">
      <dgm:prSet/>
      <dgm:spPr/>
      <dgm:t>
        <a:bodyPr/>
        <a:lstStyle/>
        <a:p>
          <a:endParaRPr lang="en-US"/>
        </a:p>
      </dgm:t>
    </dgm:pt>
    <dgm:pt modelId="{64AED61E-748A-4020-B01F-CB1D4B42B7E8}" type="sibTrans" cxnId="{B19952AC-14E8-49BB-B789-F6EEFED1810F}">
      <dgm:prSet/>
      <dgm:spPr/>
      <dgm:t>
        <a:bodyPr/>
        <a:lstStyle/>
        <a:p>
          <a:endParaRPr lang="en-US"/>
        </a:p>
      </dgm:t>
    </dgm:pt>
    <dgm:pt modelId="{78B89211-211B-4C3C-AAA6-CD589E3E8DBA}">
      <dgm:prSet/>
      <dgm:spPr/>
      <dgm:t>
        <a:bodyPr/>
        <a:lstStyle/>
        <a:p>
          <a:pPr rtl="0"/>
          <a:r>
            <a:rPr lang="en-US" dirty="0"/>
            <a:t>Teaching and consulting</a:t>
          </a:r>
        </a:p>
      </dgm:t>
    </dgm:pt>
    <dgm:pt modelId="{AE3D9F35-FC53-42BE-AEFC-2F30DA39EC4D}" type="parTrans" cxnId="{0F8C51E0-57E1-4948-A8C2-6BBE99010ECD}">
      <dgm:prSet/>
      <dgm:spPr/>
      <dgm:t>
        <a:bodyPr/>
        <a:lstStyle/>
        <a:p>
          <a:endParaRPr lang="en-US"/>
        </a:p>
      </dgm:t>
    </dgm:pt>
    <dgm:pt modelId="{62BA596D-E768-46E2-A064-90BF77EA115C}" type="sibTrans" cxnId="{0F8C51E0-57E1-4948-A8C2-6BBE99010ECD}">
      <dgm:prSet/>
      <dgm:spPr/>
      <dgm:t>
        <a:bodyPr/>
        <a:lstStyle/>
        <a:p>
          <a:endParaRPr lang="en-US"/>
        </a:p>
      </dgm:t>
    </dgm:pt>
    <dgm:pt modelId="{18B09093-A7F3-4967-8E7B-F3AE8ADB87DF}">
      <dgm:prSet/>
      <dgm:spPr/>
      <dgm:t>
        <a:bodyPr/>
        <a:lstStyle/>
        <a:p>
          <a:pPr rtl="0"/>
          <a:r>
            <a:rPr lang="en-US" dirty="0"/>
            <a:t>Administrative training</a:t>
          </a:r>
        </a:p>
      </dgm:t>
    </dgm:pt>
    <dgm:pt modelId="{99A18BAD-3AAC-4254-AEB8-E729EFFC59FD}" type="parTrans" cxnId="{90D07055-F0F0-449F-AF21-F8324AD6D64C}">
      <dgm:prSet/>
      <dgm:spPr/>
      <dgm:t>
        <a:bodyPr/>
        <a:lstStyle/>
        <a:p>
          <a:endParaRPr lang="en-US"/>
        </a:p>
      </dgm:t>
    </dgm:pt>
    <dgm:pt modelId="{D0E37FD0-FD74-4E07-A9FE-C64D0E3BE4DF}" type="sibTrans" cxnId="{90D07055-F0F0-449F-AF21-F8324AD6D64C}">
      <dgm:prSet/>
      <dgm:spPr/>
      <dgm:t>
        <a:bodyPr/>
        <a:lstStyle/>
        <a:p>
          <a:endParaRPr lang="en-US"/>
        </a:p>
      </dgm:t>
    </dgm:pt>
    <dgm:pt modelId="{E32C821F-29B5-4F94-954C-FC51ED2B7D05}">
      <dgm:prSet/>
      <dgm:spPr/>
      <dgm:t>
        <a:bodyPr/>
        <a:lstStyle/>
        <a:p>
          <a:pPr rtl="0"/>
          <a:r>
            <a:rPr lang="en-US"/>
            <a:t>Quality and performance improvement</a:t>
          </a:r>
        </a:p>
      </dgm:t>
    </dgm:pt>
    <dgm:pt modelId="{7219F955-F2C1-4FD5-BDF1-F291CD8D8816}" type="parTrans" cxnId="{AC9BA70C-F77D-429C-B3CC-08815DE16D0A}">
      <dgm:prSet/>
      <dgm:spPr/>
      <dgm:t>
        <a:bodyPr/>
        <a:lstStyle/>
        <a:p>
          <a:endParaRPr lang="en-US"/>
        </a:p>
      </dgm:t>
    </dgm:pt>
    <dgm:pt modelId="{7D84B78E-49A3-4FE3-A162-D507646789A2}" type="sibTrans" cxnId="{AC9BA70C-F77D-429C-B3CC-08815DE16D0A}">
      <dgm:prSet/>
      <dgm:spPr/>
      <dgm:t>
        <a:bodyPr/>
        <a:lstStyle/>
        <a:p>
          <a:endParaRPr lang="en-US"/>
        </a:p>
      </dgm:t>
    </dgm:pt>
    <dgm:pt modelId="{0C325C49-CB50-4B57-A8F6-155ACBDF6882}">
      <dgm:prSet/>
      <dgm:spPr/>
      <dgm:t>
        <a:bodyPr/>
        <a:lstStyle/>
        <a:p>
          <a:pPr rtl="0"/>
          <a:r>
            <a:rPr lang="en-US" dirty="0"/>
            <a:t>Career development</a:t>
          </a:r>
        </a:p>
      </dgm:t>
    </dgm:pt>
    <dgm:pt modelId="{0B958F2D-7400-4D9E-81AB-4C2E34A18CDD}" type="parTrans" cxnId="{3B9A35EF-DBB0-4411-B300-AD6013EE679A}">
      <dgm:prSet/>
      <dgm:spPr/>
      <dgm:t>
        <a:bodyPr/>
        <a:lstStyle/>
        <a:p>
          <a:endParaRPr lang="en-US"/>
        </a:p>
      </dgm:t>
    </dgm:pt>
    <dgm:pt modelId="{50A8FD75-2963-4DE4-B20B-7A856FEB75CB}" type="sibTrans" cxnId="{3B9A35EF-DBB0-4411-B300-AD6013EE679A}">
      <dgm:prSet/>
      <dgm:spPr/>
      <dgm:t>
        <a:bodyPr/>
        <a:lstStyle/>
        <a:p>
          <a:endParaRPr lang="en-US"/>
        </a:p>
      </dgm:t>
    </dgm:pt>
    <dgm:pt modelId="{C7C26D88-D078-4349-94BB-77A844A36764}">
      <dgm:prSet/>
      <dgm:spPr/>
      <dgm:t>
        <a:bodyPr/>
        <a:lstStyle/>
        <a:p>
          <a:pPr rtl="0"/>
          <a:r>
            <a:rPr lang="en-US" dirty="0"/>
            <a:t>Academics &amp; Scholarship</a:t>
          </a:r>
        </a:p>
      </dgm:t>
    </dgm:pt>
    <dgm:pt modelId="{E92E9A3B-B6CA-4039-8E21-6D194ECB2723}" type="parTrans" cxnId="{BF39AC44-3DA4-4E5C-A420-6DB44815064C}">
      <dgm:prSet/>
      <dgm:spPr/>
      <dgm:t>
        <a:bodyPr/>
        <a:lstStyle/>
        <a:p>
          <a:endParaRPr lang="en-US"/>
        </a:p>
      </dgm:t>
    </dgm:pt>
    <dgm:pt modelId="{340C0705-041E-493B-9F0F-03E3EB21410D}" type="sibTrans" cxnId="{BF39AC44-3DA4-4E5C-A420-6DB44815064C}">
      <dgm:prSet/>
      <dgm:spPr/>
      <dgm:t>
        <a:bodyPr/>
        <a:lstStyle/>
        <a:p>
          <a:endParaRPr lang="en-US"/>
        </a:p>
      </dgm:t>
    </dgm:pt>
    <dgm:pt modelId="{BD69CD0A-0079-4776-A350-E57AAE7EFF1D}" type="pres">
      <dgm:prSet presAssocID="{DD3854C2-B39B-4415-B33F-15BE37434183}" presName="Name0" presStyleCnt="0">
        <dgm:presLayoutVars>
          <dgm:chMax/>
          <dgm:chPref/>
          <dgm:dir/>
        </dgm:presLayoutVars>
      </dgm:prSet>
      <dgm:spPr/>
    </dgm:pt>
    <dgm:pt modelId="{DDB01A51-E8BD-4FF1-B15B-29025000D05C}" type="pres">
      <dgm:prSet presAssocID="{D82E92A0-1F36-4A5C-8CD0-EFDBED09AF09}" presName="parenttextcomposite" presStyleCnt="0"/>
      <dgm:spPr/>
    </dgm:pt>
    <dgm:pt modelId="{7E99A194-B36A-4665-A423-A22F2CD66A00}" type="pres">
      <dgm:prSet presAssocID="{D82E92A0-1F36-4A5C-8CD0-EFDBED09AF09}" presName="parenttext" presStyleLbl="revTx" presStyleIdx="0" presStyleCnt="6">
        <dgm:presLayoutVars>
          <dgm:chMax/>
          <dgm:chPref val="2"/>
          <dgm:bulletEnabled val="1"/>
        </dgm:presLayoutVars>
      </dgm:prSet>
      <dgm:spPr/>
    </dgm:pt>
    <dgm:pt modelId="{44375EB1-0E54-46B9-A2EC-B06E6DD0D1B6}" type="pres">
      <dgm:prSet presAssocID="{D82E92A0-1F36-4A5C-8CD0-EFDBED09AF09}" presName="parallelogramComposite" presStyleCnt="0"/>
      <dgm:spPr/>
    </dgm:pt>
    <dgm:pt modelId="{99ED1452-6F97-4CAE-82F9-9C97EB35A0A6}" type="pres">
      <dgm:prSet presAssocID="{D82E92A0-1F36-4A5C-8CD0-EFDBED09AF09}" presName="parallelogram1" presStyleLbl="alignNode1" presStyleIdx="0" presStyleCnt="42"/>
      <dgm:spPr/>
    </dgm:pt>
    <dgm:pt modelId="{E16521D8-6DB0-414F-942D-23AA514C1C1A}" type="pres">
      <dgm:prSet presAssocID="{D82E92A0-1F36-4A5C-8CD0-EFDBED09AF09}" presName="parallelogram2" presStyleLbl="alignNode1" presStyleIdx="1" presStyleCnt="42"/>
      <dgm:spPr/>
    </dgm:pt>
    <dgm:pt modelId="{C5E49CAB-3A2A-4AE0-ABC0-77726268BFBB}" type="pres">
      <dgm:prSet presAssocID="{D82E92A0-1F36-4A5C-8CD0-EFDBED09AF09}" presName="parallelogram3" presStyleLbl="alignNode1" presStyleIdx="2" presStyleCnt="42"/>
      <dgm:spPr/>
    </dgm:pt>
    <dgm:pt modelId="{0BC9C5E4-CBF4-4666-AB04-9328031BC8E3}" type="pres">
      <dgm:prSet presAssocID="{D82E92A0-1F36-4A5C-8CD0-EFDBED09AF09}" presName="parallelogram4" presStyleLbl="alignNode1" presStyleIdx="3" presStyleCnt="42"/>
      <dgm:spPr/>
    </dgm:pt>
    <dgm:pt modelId="{62D55020-29D0-4F10-A96A-22A2E9CA0C64}" type="pres">
      <dgm:prSet presAssocID="{D82E92A0-1F36-4A5C-8CD0-EFDBED09AF09}" presName="parallelogram5" presStyleLbl="alignNode1" presStyleIdx="4" presStyleCnt="42"/>
      <dgm:spPr/>
    </dgm:pt>
    <dgm:pt modelId="{DA69495B-15AA-41BB-B54E-458AFEFCCF8A}" type="pres">
      <dgm:prSet presAssocID="{D82E92A0-1F36-4A5C-8CD0-EFDBED09AF09}" presName="parallelogram6" presStyleLbl="alignNode1" presStyleIdx="5" presStyleCnt="42"/>
      <dgm:spPr/>
    </dgm:pt>
    <dgm:pt modelId="{03240267-94A6-4833-8EAA-771E8877526A}" type="pres">
      <dgm:prSet presAssocID="{D82E92A0-1F36-4A5C-8CD0-EFDBED09AF09}" presName="parallelogram7" presStyleLbl="alignNode1" presStyleIdx="6" presStyleCnt="42"/>
      <dgm:spPr/>
    </dgm:pt>
    <dgm:pt modelId="{F19ED40F-FEF7-44D3-A2B6-02AFE84A7FAB}" type="pres">
      <dgm:prSet presAssocID="{64AED61E-748A-4020-B01F-CB1D4B42B7E8}" presName="sibTrans" presStyleCnt="0"/>
      <dgm:spPr/>
    </dgm:pt>
    <dgm:pt modelId="{6A0CA91E-CF7C-47AB-872A-B9862F45994D}" type="pres">
      <dgm:prSet presAssocID="{78B89211-211B-4C3C-AAA6-CD589E3E8DBA}" presName="parenttextcomposite" presStyleCnt="0"/>
      <dgm:spPr/>
    </dgm:pt>
    <dgm:pt modelId="{3EBA35C0-7FC5-42A5-B282-B17968F55FC3}" type="pres">
      <dgm:prSet presAssocID="{78B89211-211B-4C3C-AAA6-CD589E3E8DBA}" presName="parenttext" presStyleLbl="revTx" presStyleIdx="1" presStyleCnt="6">
        <dgm:presLayoutVars>
          <dgm:chMax/>
          <dgm:chPref val="2"/>
          <dgm:bulletEnabled val="1"/>
        </dgm:presLayoutVars>
      </dgm:prSet>
      <dgm:spPr/>
    </dgm:pt>
    <dgm:pt modelId="{A289A334-F39F-465A-9538-2E570B064E70}" type="pres">
      <dgm:prSet presAssocID="{78B89211-211B-4C3C-AAA6-CD589E3E8DBA}" presName="parallelogramComposite" presStyleCnt="0"/>
      <dgm:spPr/>
    </dgm:pt>
    <dgm:pt modelId="{684C826C-56AC-4A4A-825D-FF3AF40EACE5}" type="pres">
      <dgm:prSet presAssocID="{78B89211-211B-4C3C-AAA6-CD589E3E8DBA}" presName="parallelogram1" presStyleLbl="alignNode1" presStyleIdx="7" presStyleCnt="42"/>
      <dgm:spPr/>
    </dgm:pt>
    <dgm:pt modelId="{4EE7B024-F080-4C7C-83B5-950075112D11}" type="pres">
      <dgm:prSet presAssocID="{78B89211-211B-4C3C-AAA6-CD589E3E8DBA}" presName="parallelogram2" presStyleLbl="alignNode1" presStyleIdx="8" presStyleCnt="42"/>
      <dgm:spPr/>
    </dgm:pt>
    <dgm:pt modelId="{582C31C5-58EE-4ECC-A9EC-940346350DDC}" type="pres">
      <dgm:prSet presAssocID="{78B89211-211B-4C3C-AAA6-CD589E3E8DBA}" presName="parallelogram3" presStyleLbl="alignNode1" presStyleIdx="9" presStyleCnt="42"/>
      <dgm:spPr/>
    </dgm:pt>
    <dgm:pt modelId="{B81434CC-7980-4546-9332-56EA1D337593}" type="pres">
      <dgm:prSet presAssocID="{78B89211-211B-4C3C-AAA6-CD589E3E8DBA}" presName="parallelogram4" presStyleLbl="alignNode1" presStyleIdx="10" presStyleCnt="42"/>
      <dgm:spPr/>
    </dgm:pt>
    <dgm:pt modelId="{8AD352B8-8603-413D-A3F5-71A48276933A}" type="pres">
      <dgm:prSet presAssocID="{78B89211-211B-4C3C-AAA6-CD589E3E8DBA}" presName="parallelogram5" presStyleLbl="alignNode1" presStyleIdx="11" presStyleCnt="42"/>
      <dgm:spPr/>
    </dgm:pt>
    <dgm:pt modelId="{EC6F522D-AFF7-47EE-A2CC-6BF9050ED336}" type="pres">
      <dgm:prSet presAssocID="{78B89211-211B-4C3C-AAA6-CD589E3E8DBA}" presName="parallelogram6" presStyleLbl="alignNode1" presStyleIdx="12" presStyleCnt="42"/>
      <dgm:spPr/>
    </dgm:pt>
    <dgm:pt modelId="{8C67543A-EA43-4D42-8876-83F4F45D82E0}" type="pres">
      <dgm:prSet presAssocID="{78B89211-211B-4C3C-AAA6-CD589E3E8DBA}" presName="parallelogram7" presStyleLbl="alignNode1" presStyleIdx="13" presStyleCnt="42"/>
      <dgm:spPr/>
    </dgm:pt>
    <dgm:pt modelId="{F4FFBA57-C286-4960-9C09-22F15B6697C0}" type="pres">
      <dgm:prSet presAssocID="{62BA596D-E768-46E2-A064-90BF77EA115C}" presName="sibTrans" presStyleCnt="0"/>
      <dgm:spPr/>
    </dgm:pt>
    <dgm:pt modelId="{92BB4F52-EFED-434D-9C18-64C2BB22DD6E}" type="pres">
      <dgm:prSet presAssocID="{18B09093-A7F3-4967-8E7B-F3AE8ADB87DF}" presName="parenttextcomposite" presStyleCnt="0"/>
      <dgm:spPr/>
    </dgm:pt>
    <dgm:pt modelId="{35C12C08-E231-44C3-90A4-A8051BDB9BC2}" type="pres">
      <dgm:prSet presAssocID="{18B09093-A7F3-4967-8E7B-F3AE8ADB87DF}" presName="parenttext" presStyleLbl="revTx" presStyleIdx="2" presStyleCnt="6">
        <dgm:presLayoutVars>
          <dgm:chMax/>
          <dgm:chPref val="2"/>
          <dgm:bulletEnabled val="1"/>
        </dgm:presLayoutVars>
      </dgm:prSet>
      <dgm:spPr/>
    </dgm:pt>
    <dgm:pt modelId="{EF26A58B-8B91-4538-9365-51EE6B7361F3}" type="pres">
      <dgm:prSet presAssocID="{18B09093-A7F3-4967-8E7B-F3AE8ADB87DF}" presName="parallelogramComposite" presStyleCnt="0"/>
      <dgm:spPr/>
    </dgm:pt>
    <dgm:pt modelId="{D2D47059-B7A8-4B8F-BE28-ABC94E44A503}" type="pres">
      <dgm:prSet presAssocID="{18B09093-A7F3-4967-8E7B-F3AE8ADB87DF}" presName="parallelogram1" presStyleLbl="alignNode1" presStyleIdx="14" presStyleCnt="42"/>
      <dgm:spPr/>
    </dgm:pt>
    <dgm:pt modelId="{AF1DA337-24D9-476F-A093-3314F92DAC0A}" type="pres">
      <dgm:prSet presAssocID="{18B09093-A7F3-4967-8E7B-F3AE8ADB87DF}" presName="parallelogram2" presStyleLbl="alignNode1" presStyleIdx="15" presStyleCnt="42"/>
      <dgm:spPr/>
    </dgm:pt>
    <dgm:pt modelId="{0372389B-B1E0-4D29-89B4-8BDBE6388460}" type="pres">
      <dgm:prSet presAssocID="{18B09093-A7F3-4967-8E7B-F3AE8ADB87DF}" presName="parallelogram3" presStyleLbl="alignNode1" presStyleIdx="16" presStyleCnt="42"/>
      <dgm:spPr/>
    </dgm:pt>
    <dgm:pt modelId="{EF679906-B1C6-4E15-8607-541E7CE7A524}" type="pres">
      <dgm:prSet presAssocID="{18B09093-A7F3-4967-8E7B-F3AE8ADB87DF}" presName="parallelogram4" presStyleLbl="alignNode1" presStyleIdx="17" presStyleCnt="42"/>
      <dgm:spPr/>
    </dgm:pt>
    <dgm:pt modelId="{2BE20A0A-5342-4BA5-A043-0FE03E8ECB37}" type="pres">
      <dgm:prSet presAssocID="{18B09093-A7F3-4967-8E7B-F3AE8ADB87DF}" presName="parallelogram5" presStyleLbl="alignNode1" presStyleIdx="18" presStyleCnt="42"/>
      <dgm:spPr/>
    </dgm:pt>
    <dgm:pt modelId="{A3D353DC-7DA4-48E8-B594-D0BF75DEDA10}" type="pres">
      <dgm:prSet presAssocID="{18B09093-A7F3-4967-8E7B-F3AE8ADB87DF}" presName="parallelogram6" presStyleLbl="alignNode1" presStyleIdx="19" presStyleCnt="42"/>
      <dgm:spPr/>
    </dgm:pt>
    <dgm:pt modelId="{221BB847-1D56-49E3-A85B-49D61A1BD8B6}" type="pres">
      <dgm:prSet presAssocID="{18B09093-A7F3-4967-8E7B-F3AE8ADB87DF}" presName="parallelogram7" presStyleLbl="alignNode1" presStyleIdx="20" presStyleCnt="42"/>
      <dgm:spPr/>
    </dgm:pt>
    <dgm:pt modelId="{69144EA8-69C2-4FD7-B039-926DECD3A2CD}" type="pres">
      <dgm:prSet presAssocID="{D0E37FD0-FD74-4E07-A9FE-C64D0E3BE4DF}" presName="sibTrans" presStyleCnt="0"/>
      <dgm:spPr/>
    </dgm:pt>
    <dgm:pt modelId="{F7F6D444-614C-405A-B86E-04866F97850B}" type="pres">
      <dgm:prSet presAssocID="{E32C821F-29B5-4F94-954C-FC51ED2B7D05}" presName="parenttextcomposite" presStyleCnt="0"/>
      <dgm:spPr/>
    </dgm:pt>
    <dgm:pt modelId="{94AA1CE6-43C8-47F1-A987-4CC113EA3B60}" type="pres">
      <dgm:prSet presAssocID="{E32C821F-29B5-4F94-954C-FC51ED2B7D05}" presName="parenttext" presStyleLbl="revTx" presStyleIdx="3" presStyleCnt="6">
        <dgm:presLayoutVars>
          <dgm:chMax/>
          <dgm:chPref val="2"/>
          <dgm:bulletEnabled val="1"/>
        </dgm:presLayoutVars>
      </dgm:prSet>
      <dgm:spPr/>
    </dgm:pt>
    <dgm:pt modelId="{941F560D-842F-4253-B325-B735E987F5F1}" type="pres">
      <dgm:prSet presAssocID="{E32C821F-29B5-4F94-954C-FC51ED2B7D05}" presName="parallelogramComposite" presStyleCnt="0"/>
      <dgm:spPr/>
    </dgm:pt>
    <dgm:pt modelId="{B5C6EC3D-B119-4A92-B68D-64FDCCCE285E}" type="pres">
      <dgm:prSet presAssocID="{E32C821F-29B5-4F94-954C-FC51ED2B7D05}" presName="parallelogram1" presStyleLbl="alignNode1" presStyleIdx="21" presStyleCnt="42"/>
      <dgm:spPr/>
    </dgm:pt>
    <dgm:pt modelId="{71893474-5F77-46DA-AB7E-E16D79722D03}" type="pres">
      <dgm:prSet presAssocID="{E32C821F-29B5-4F94-954C-FC51ED2B7D05}" presName="parallelogram2" presStyleLbl="alignNode1" presStyleIdx="22" presStyleCnt="42"/>
      <dgm:spPr/>
    </dgm:pt>
    <dgm:pt modelId="{2BAF00C3-5D49-4B8A-9A0C-7908254E141B}" type="pres">
      <dgm:prSet presAssocID="{E32C821F-29B5-4F94-954C-FC51ED2B7D05}" presName="parallelogram3" presStyleLbl="alignNode1" presStyleIdx="23" presStyleCnt="42"/>
      <dgm:spPr/>
    </dgm:pt>
    <dgm:pt modelId="{C0C23B75-A96A-4990-87EA-F1209E634DAA}" type="pres">
      <dgm:prSet presAssocID="{E32C821F-29B5-4F94-954C-FC51ED2B7D05}" presName="parallelogram4" presStyleLbl="alignNode1" presStyleIdx="24" presStyleCnt="42"/>
      <dgm:spPr/>
    </dgm:pt>
    <dgm:pt modelId="{399B2CC5-AADD-4610-8C3E-FB2BAAD610FF}" type="pres">
      <dgm:prSet presAssocID="{E32C821F-29B5-4F94-954C-FC51ED2B7D05}" presName="parallelogram5" presStyleLbl="alignNode1" presStyleIdx="25" presStyleCnt="42"/>
      <dgm:spPr/>
    </dgm:pt>
    <dgm:pt modelId="{ED919C07-87DD-4636-99AE-9B44C3DCE815}" type="pres">
      <dgm:prSet presAssocID="{E32C821F-29B5-4F94-954C-FC51ED2B7D05}" presName="parallelogram6" presStyleLbl="alignNode1" presStyleIdx="26" presStyleCnt="42"/>
      <dgm:spPr/>
    </dgm:pt>
    <dgm:pt modelId="{0510D5D6-BC4F-49A9-8EE5-DA08B162BC34}" type="pres">
      <dgm:prSet presAssocID="{E32C821F-29B5-4F94-954C-FC51ED2B7D05}" presName="parallelogram7" presStyleLbl="alignNode1" presStyleIdx="27" presStyleCnt="42"/>
      <dgm:spPr/>
    </dgm:pt>
    <dgm:pt modelId="{B1350729-A4F3-49AC-94FE-5FE9E44D10ED}" type="pres">
      <dgm:prSet presAssocID="{7D84B78E-49A3-4FE3-A162-D507646789A2}" presName="sibTrans" presStyleCnt="0"/>
      <dgm:spPr/>
    </dgm:pt>
    <dgm:pt modelId="{C42B8B13-58D2-438C-9466-7F5AFEE6CF36}" type="pres">
      <dgm:prSet presAssocID="{0C325C49-CB50-4B57-A8F6-155ACBDF6882}" presName="parenttextcomposite" presStyleCnt="0"/>
      <dgm:spPr/>
    </dgm:pt>
    <dgm:pt modelId="{47D1A434-AE03-4783-BD99-D24E47DE58C9}" type="pres">
      <dgm:prSet presAssocID="{0C325C49-CB50-4B57-A8F6-155ACBDF6882}" presName="parenttext" presStyleLbl="revTx" presStyleIdx="4" presStyleCnt="6">
        <dgm:presLayoutVars>
          <dgm:chMax/>
          <dgm:chPref val="2"/>
          <dgm:bulletEnabled val="1"/>
        </dgm:presLayoutVars>
      </dgm:prSet>
      <dgm:spPr/>
    </dgm:pt>
    <dgm:pt modelId="{A9D4263C-D444-41E0-B6CE-71B3AC62F82D}" type="pres">
      <dgm:prSet presAssocID="{0C325C49-CB50-4B57-A8F6-155ACBDF6882}" presName="parallelogramComposite" presStyleCnt="0"/>
      <dgm:spPr/>
    </dgm:pt>
    <dgm:pt modelId="{45A5486A-DA9E-4A1F-A3EF-3221E42B8910}" type="pres">
      <dgm:prSet presAssocID="{0C325C49-CB50-4B57-A8F6-155ACBDF6882}" presName="parallelogram1" presStyleLbl="alignNode1" presStyleIdx="28" presStyleCnt="42"/>
      <dgm:spPr/>
    </dgm:pt>
    <dgm:pt modelId="{D2730771-AEBC-459F-AE95-A132169E465A}" type="pres">
      <dgm:prSet presAssocID="{0C325C49-CB50-4B57-A8F6-155ACBDF6882}" presName="parallelogram2" presStyleLbl="alignNode1" presStyleIdx="29" presStyleCnt="42"/>
      <dgm:spPr/>
    </dgm:pt>
    <dgm:pt modelId="{FAFD6AF7-89C0-44A4-A9F0-F11E103126D4}" type="pres">
      <dgm:prSet presAssocID="{0C325C49-CB50-4B57-A8F6-155ACBDF6882}" presName="parallelogram3" presStyleLbl="alignNode1" presStyleIdx="30" presStyleCnt="42"/>
      <dgm:spPr/>
    </dgm:pt>
    <dgm:pt modelId="{8EC81BE2-BDE4-4F24-BFCD-D3101C6BB928}" type="pres">
      <dgm:prSet presAssocID="{0C325C49-CB50-4B57-A8F6-155ACBDF6882}" presName="parallelogram4" presStyleLbl="alignNode1" presStyleIdx="31" presStyleCnt="42"/>
      <dgm:spPr/>
    </dgm:pt>
    <dgm:pt modelId="{61654A19-2482-404F-967B-A56ABBA66CE2}" type="pres">
      <dgm:prSet presAssocID="{0C325C49-CB50-4B57-A8F6-155ACBDF6882}" presName="parallelogram5" presStyleLbl="alignNode1" presStyleIdx="32" presStyleCnt="42"/>
      <dgm:spPr/>
    </dgm:pt>
    <dgm:pt modelId="{E7373191-2611-436A-9126-202BB6103F39}" type="pres">
      <dgm:prSet presAssocID="{0C325C49-CB50-4B57-A8F6-155ACBDF6882}" presName="parallelogram6" presStyleLbl="alignNode1" presStyleIdx="33" presStyleCnt="42"/>
      <dgm:spPr/>
    </dgm:pt>
    <dgm:pt modelId="{FAD56E3E-67A2-4631-A0DB-D0DCF848E5A4}" type="pres">
      <dgm:prSet presAssocID="{0C325C49-CB50-4B57-A8F6-155ACBDF6882}" presName="parallelogram7" presStyleLbl="alignNode1" presStyleIdx="34" presStyleCnt="42"/>
      <dgm:spPr/>
    </dgm:pt>
    <dgm:pt modelId="{67280940-DF41-4B2F-AB52-2E21FEAEE211}" type="pres">
      <dgm:prSet presAssocID="{50A8FD75-2963-4DE4-B20B-7A856FEB75CB}" presName="sibTrans" presStyleCnt="0"/>
      <dgm:spPr/>
    </dgm:pt>
    <dgm:pt modelId="{AE745B9A-2832-4A69-9A3C-35043E06A633}" type="pres">
      <dgm:prSet presAssocID="{C7C26D88-D078-4349-94BB-77A844A36764}" presName="parenttextcomposite" presStyleCnt="0"/>
      <dgm:spPr/>
    </dgm:pt>
    <dgm:pt modelId="{D473AA0F-3E7A-4003-9E7F-2259F8EC882B}" type="pres">
      <dgm:prSet presAssocID="{C7C26D88-D078-4349-94BB-77A844A36764}" presName="parenttext" presStyleLbl="revTx" presStyleIdx="5" presStyleCnt="6">
        <dgm:presLayoutVars>
          <dgm:chMax/>
          <dgm:chPref val="2"/>
          <dgm:bulletEnabled val="1"/>
        </dgm:presLayoutVars>
      </dgm:prSet>
      <dgm:spPr/>
    </dgm:pt>
    <dgm:pt modelId="{8A773C21-B081-43BE-9EA2-FE2B55B6CCF0}" type="pres">
      <dgm:prSet presAssocID="{C7C26D88-D078-4349-94BB-77A844A36764}" presName="parallelogramComposite" presStyleCnt="0"/>
      <dgm:spPr/>
    </dgm:pt>
    <dgm:pt modelId="{69642AD1-54E3-40CA-8895-E25DEE93A5E5}" type="pres">
      <dgm:prSet presAssocID="{C7C26D88-D078-4349-94BB-77A844A36764}" presName="parallelogram1" presStyleLbl="alignNode1" presStyleIdx="35" presStyleCnt="42"/>
      <dgm:spPr/>
    </dgm:pt>
    <dgm:pt modelId="{3A148B7A-D9BD-47E3-982D-727637E9DB7C}" type="pres">
      <dgm:prSet presAssocID="{C7C26D88-D078-4349-94BB-77A844A36764}" presName="parallelogram2" presStyleLbl="alignNode1" presStyleIdx="36" presStyleCnt="42"/>
      <dgm:spPr/>
    </dgm:pt>
    <dgm:pt modelId="{5B19DB72-EF40-4823-9146-98D500774B06}" type="pres">
      <dgm:prSet presAssocID="{C7C26D88-D078-4349-94BB-77A844A36764}" presName="parallelogram3" presStyleLbl="alignNode1" presStyleIdx="37" presStyleCnt="42"/>
      <dgm:spPr/>
    </dgm:pt>
    <dgm:pt modelId="{61E34143-3F60-4B18-A8D0-25D8B34B509B}" type="pres">
      <dgm:prSet presAssocID="{C7C26D88-D078-4349-94BB-77A844A36764}" presName="parallelogram4" presStyleLbl="alignNode1" presStyleIdx="38" presStyleCnt="42"/>
      <dgm:spPr/>
    </dgm:pt>
    <dgm:pt modelId="{BAE59986-7FCF-41E7-B38A-86D1FDC9A007}" type="pres">
      <dgm:prSet presAssocID="{C7C26D88-D078-4349-94BB-77A844A36764}" presName="parallelogram5" presStyleLbl="alignNode1" presStyleIdx="39" presStyleCnt="42"/>
      <dgm:spPr/>
    </dgm:pt>
    <dgm:pt modelId="{B1BF8DFB-D365-4B96-B276-07B5B55D4042}" type="pres">
      <dgm:prSet presAssocID="{C7C26D88-D078-4349-94BB-77A844A36764}" presName="parallelogram6" presStyleLbl="alignNode1" presStyleIdx="40" presStyleCnt="42"/>
      <dgm:spPr/>
    </dgm:pt>
    <dgm:pt modelId="{5D085CC1-DBCE-4860-9C31-BF054C211C36}" type="pres">
      <dgm:prSet presAssocID="{C7C26D88-D078-4349-94BB-77A844A36764}" presName="parallelogram7" presStyleLbl="alignNode1" presStyleIdx="41" presStyleCnt="42"/>
      <dgm:spPr/>
    </dgm:pt>
  </dgm:ptLst>
  <dgm:cxnLst>
    <dgm:cxn modelId="{AC9BA70C-F77D-429C-B3CC-08815DE16D0A}" srcId="{DD3854C2-B39B-4415-B33F-15BE37434183}" destId="{E32C821F-29B5-4F94-954C-FC51ED2B7D05}" srcOrd="3" destOrd="0" parTransId="{7219F955-F2C1-4FD5-BDF1-F291CD8D8816}" sibTransId="{7D84B78E-49A3-4FE3-A162-D507646789A2}"/>
    <dgm:cxn modelId="{BF39AC44-3DA4-4E5C-A420-6DB44815064C}" srcId="{DD3854C2-B39B-4415-B33F-15BE37434183}" destId="{C7C26D88-D078-4349-94BB-77A844A36764}" srcOrd="5" destOrd="0" parTransId="{E92E9A3B-B6CA-4039-8E21-6D194ECB2723}" sibTransId="{340C0705-041E-493B-9F0F-03E3EB21410D}"/>
    <dgm:cxn modelId="{60F5B049-075A-46F1-8B39-67EF87805459}" type="presOf" srcId="{E32C821F-29B5-4F94-954C-FC51ED2B7D05}" destId="{94AA1CE6-43C8-47F1-A987-4CC113EA3B60}" srcOrd="0" destOrd="0" presId="urn:microsoft.com/office/officeart/2008/layout/VerticalAccentList"/>
    <dgm:cxn modelId="{B1BA594F-121C-4C0F-99E5-536777A831C6}" type="presOf" srcId="{18B09093-A7F3-4967-8E7B-F3AE8ADB87DF}" destId="{35C12C08-E231-44C3-90A4-A8051BDB9BC2}" srcOrd="0" destOrd="0" presId="urn:microsoft.com/office/officeart/2008/layout/VerticalAccentList"/>
    <dgm:cxn modelId="{90D07055-F0F0-449F-AF21-F8324AD6D64C}" srcId="{DD3854C2-B39B-4415-B33F-15BE37434183}" destId="{18B09093-A7F3-4967-8E7B-F3AE8ADB87DF}" srcOrd="2" destOrd="0" parTransId="{99A18BAD-3AAC-4254-AEB8-E729EFFC59FD}" sibTransId="{D0E37FD0-FD74-4E07-A9FE-C64D0E3BE4DF}"/>
    <dgm:cxn modelId="{77A20464-6B69-47AD-8F60-2565029AE64A}" type="presOf" srcId="{DD3854C2-B39B-4415-B33F-15BE37434183}" destId="{BD69CD0A-0079-4776-A350-E57AAE7EFF1D}" srcOrd="0" destOrd="0" presId="urn:microsoft.com/office/officeart/2008/layout/VerticalAccentList"/>
    <dgm:cxn modelId="{0379F588-0FCC-4FF9-A1F8-7028BF8825B9}" type="presOf" srcId="{D82E92A0-1F36-4A5C-8CD0-EFDBED09AF09}" destId="{7E99A194-B36A-4665-A423-A22F2CD66A00}" srcOrd="0" destOrd="0" presId="urn:microsoft.com/office/officeart/2008/layout/VerticalAccentList"/>
    <dgm:cxn modelId="{CC044A92-41C9-4295-AFBE-C5CCAB397F8B}" type="presOf" srcId="{0C325C49-CB50-4B57-A8F6-155ACBDF6882}" destId="{47D1A434-AE03-4783-BD99-D24E47DE58C9}" srcOrd="0" destOrd="0" presId="urn:microsoft.com/office/officeart/2008/layout/VerticalAccentList"/>
    <dgm:cxn modelId="{B1DF2BA1-80F5-4A02-8649-F9540024FC4F}" type="presOf" srcId="{78B89211-211B-4C3C-AAA6-CD589E3E8DBA}" destId="{3EBA35C0-7FC5-42A5-B282-B17968F55FC3}" srcOrd="0" destOrd="0" presId="urn:microsoft.com/office/officeart/2008/layout/VerticalAccentList"/>
    <dgm:cxn modelId="{457383AA-7641-420E-AE50-90BAC1C08189}" type="presOf" srcId="{C7C26D88-D078-4349-94BB-77A844A36764}" destId="{D473AA0F-3E7A-4003-9E7F-2259F8EC882B}" srcOrd="0" destOrd="0" presId="urn:microsoft.com/office/officeart/2008/layout/VerticalAccentList"/>
    <dgm:cxn modelId="{B19952AC-14E8-49BB-B789-F6EEFED1810F}" srcId="{DD3854C2-B39B-4415-B33F-15BE37434183}" destId="{D82E92A0-1F36-4A5C-8CD0-EFDBED09AF09}" srcOrd="0" destOrd="0" parTransId="{B8815DAB-3B1A-465B-9E52-56B6704D86A5}" sibTransId="{64AED61E-748A-4020-B01F-CB1D4B42B7E8}"/>
    <dgm:cxn modelId="{0F8C51E0-57E1-4948-A8C2-6BBE99010ECD}" srcId="{DD3854C2-B39B-4415-B33F-15BE37434183}" destId="{78B89211-211B-4C3C-AAA6-CD589E3E8DBA}" srcOrd="1" destOrd="0" parTransId="{AE3D9F35-FC53-42BE-AEFC-2F30DA39EC4D}" sibTransId="{62BA596D-E768-46E2-A064-90BF77EA115C}"/>
    <dgm:cxn modelId="{3B9A35EF-DBB0-4411-B300-AD6013EE679A}" srcId="{DD3854C2-B39B-4415-B33F-15BE37434183}" destId="{0C325C49-CB50-4B57-A8F6-155ACBDF6882}" srcOrd="4" destOrd="0" parTransId="{0B958F2D-7400-4D9E-81AB-4C2E34A18CDD}" sibTransId="{50A8FD75-2963-4DE4-B20B-7A856FEB75CB}"/>
    <dgm:cxn modelId="{257B0582-7410-420A-9C88-911A29A6FC5A}" type="presParOf" srcId="{BD69CD0A-0079-4776-A350-E57AAE7EFF1D}" destId="{DDB01A51-E8BD-4FF1-B15B-29025000D05C}" srcOrd="0" destOrd="0" presId="urn:microsoft.com/office/officeart/2008/layout/VerticalAccentList"/>
    <dgm:cxn modelId="{2CD588F0-68DE-40B8-856F-AFDA7FDA4C2F}" type="presParOf" srcId="{DDB01A51-E8BD-4FF1-B15B-29025000D05C}" destId="{7E99A194-B36A-4665-A423-A22F2CD66A00}" srcOrd="0" destOrd="0" presId="urn:microsoft.com/office/officeart/2008/layout/VerticalAccentList"/>
    <dgm:cxn modelId="{26636148-9979-4868-96F1-DE22CD1C9C43}" type="presParOf" srcId="{BD69CD0A-0079-4776-A350-E57AAE7EFF1D}" destId="{44375EB1-0E54-46B9-A2EC-B06E6DD0D1B6}" srcOrd="1" destOrd="0" presId="urn:microsoft.com/office/officeart/2008/layout/VerticalAccentList"/>
    <dgm:cxn modelId="{6F2EA268-A805-4CEA-8B86-07101F527FBE}" type="presParOf" srcId="{44375EB1-0E54-46B9-A2EC-B06E6DD0D1B6}" destId="{99ED1452-6F97-4CAE-82F9-9C97EB35A0A6}" srcOrd="0" destOrd="0" presId="urn:microsoft.com/office/officeart/2008/layout/VerticalAccentList"/>
    <dgm:cxn modelId="{6C44105B-9BB6-42AF-8A7E-031ED17F03E9}" type="presParOf" srcId="{44375EB1-0E54-46B9-A2EC-B06E6DD0D1B6}" destId="{E16521D8-6DB0-414F-942D-23AA514C1C1A}" srcOrd="1" destOrd="0" presId="urn:microsoft.com/office/officeart/2008/layout/VerticalAccentList"/>
    <dgm:cxn modelId="{6B972B26-5FC4-4D37-B7C0-B6101AA4A51C}" type="presParOf" srcId="{44375EB1-0E54-46B9-A2EC-B06E6DD0D1B6}" destId="{C5E49CAB-3A2A-4AE0-ABC0-77726268BFBB}" srcOrd="2" destOrd="0" presId="urn:microsoft.com/office/officeart/2008/layout/VerticalAccentList"/>
    <dgm:cxn modelId="{F95FCE3F-65B3-49DD-AEC6-C547DEB0E925}" type="presParOf" srcId="{44375EB1-0E54-46B9-A2EC-B06E6DD0D1B6}" destId="{0BC9C5E4-CBF4-4666-AB04-9328031BC8E3}" srcOrd="3" destOrd="0" presId="urn:microsoft.com/office/officeart/2008/layout/VerticalAccentList"/>
    <dgm:cxn modelId="{15491A50-8C64-4178-867A-F4FD2B61DCAF}" type="presParOf" srcId="{44375EB1-0E54-46B9-A2EC-B06E6DD0D1B6}" destId="{62D55020-29D0-4F10-A96A-22A2E9CA0C64}" srcOrd="4" destOrd="0" presId="urn:microsoft.com/office/officeart/2008/layout/VerticalAccentList"/>
    <dgm:cxn modelId="{75964E68-8047-4D76-A9FA-BDC11BB59708}" type="presParOf" srcId="{44375EB1-0E54-46B9-A2EC-B06E6DD0D1B6}" destId="{DA69495B-15AA-41BB-B54E-458AFEFCCF8A}" srcOrd="5" destOrd="0" presId="urn:microsoft.com/office/officeart/2008/layout/VerticalAccentList"/>
    <dgm:cxn modelId="{82874EE8-D9E7-4D9C-BE21-BF3671C3C07E}" type="presParOf" srcId="{44375EB1-0E54-46B9-A2EC-B06E6DD0D1B6}" destId="{03240267-94A6-4833-8EAA-771E8877526A}" srcOrd="6" destOrd="0" presId="urn:microsoft.com/office/officeart/2008/layout/VerticalAccentList"/>
    <dgm:cxn modelId="{0C5BFD9A-59D4-43D2-A255-94CF3CC49D0B}" type="presParOf" srcId="{BD69CD0A-0079-4776-A350-E57AAE7EFF1D}" destId="{F19ED40F-FEF7-44D3-A2B6-02AFE84A7FAB}" srcOrd="2" destOrd="0" presId="urn:microsoft.com/office/officeart/2008/layout/VerticalAccentList"/>
    <dgm:cxn modelId="{DAB181C1-4C23-4D63-8ECB-46B1994142F8}" type="presParOf" srcId="{BD69CD0A-0079-4776-A350-E57AAE7EFF1D}" destId="{6A0CA91E-CF7C-47AB-872A-B9862F45994D}" srcOrd="3" destOrd="0" presId="urn:microsoft.com/office/officeart/2008/layout/VerticalAccentList"/>
    <dgm:cxn modelId="{CA7D7D1F-C442-4429-BA85-B92076BFBC3F}" type="presParOf" srcId="{6A0CA91E-CF7C-47AB-872A-B9862F45994D}" destId="{3EBA35C0-7FC5-42A5-B282-B17968F55FC3}" srcOrd="0" destOrd="0" presId="urn:microsoft.com/office/officeart/2008/layout/VerticalAccentList"/>
    <dgm:cxn modelId="{1001E44B-3A41-491D-A7CE-BF7AA05E17B5}" type="presParOf" srcId="{BD69CD0A-0079-4776-A350-E57AAE7EFF1D}" destId="{A289A334-F39F-465A-9538-2E570B064E70}" srcOrd="4" destOrd="0" presId="urn:microsoft.com/office/officeart/2008/layout/VerticalAccentList"/>
    <dgm:cxn modelId="{A030F38F-108C-40E5-A4B7-3B86C47090E4}" type="presParOf" srcId="{A289A334-F39F-465A-9538-2E570B064E70}" destId="{684C826C-56AC-4A4A-825D-FF3AF40EACE5}" srcOrd="0" destOrd="0" presId="urn:microsoft.com/office/officeart/2008/layout/VerticalAccentList"/>
    <dgm:cxn modelId="{11ADB5D2-25D6-4D13-81E7-44A740D68632}" type="presParOf" srcId="{A289A334-F39F-465A-9538-2E570B064E70}" destId="{4EE7B024-F080-4C7C-83B5-950075112D11}" srcOrd="1" destOrd="0" presId="urn:microsoft.com/office/officeart/2008/layout/VerticalAccentList"/>
    <dgm:cxn modelId="{2E5C978D-70F5-4528-8851-A7AFBA34BFD1}" type="presParOf" srcId="{A289A334-F39F-465A-9538-2E570B064E70}" destId="{582C31C5-58EE-4ECC-A9EC-940346350DDC}" srcOrd="2" destOrd="0" presId="urn:microsoft.com/office/officeart/2008/layout/VerticalAccentList"/>
    <dgm:cxn modelId="{D3F80552-6365-43ED-B4AD-942AB0666E15}" type="presParOf" srcId="{A289A334-F39F-465A-9538-2E570B064E70}" destId="{B81434CC-7980-4546-9332-56EA1D337593}" srcOrd="3" destOrd="0" presId="urn:microsoft.com/office/officeart/2008/layout/VerticalAccentList"/>
    <dgm:cxn modelId="{557F1DB4-FF82-4D08-AEB3-D0CC1BDD0CBE}" type="presParOf" srcId="{A289A334-F39F-465A-9538-2E570B064E70}" destId="{8AD352B8-8603-413D-A3F5-71A48276933A}" srcOrd="4" destOrd="0" presId="urn:microsoft.com/office/officeart/2008/layout/VerticalAccentList"/>
    <dgm:cxn modelId="{99B2999E-E54F-4414-B3EE-502D62E00653}" type="presParOf" srcId="{A289A334-F39F-465A-9538-2E570B064E70}" destId="{EC6F522D-AFF7-47EE-A2CC-6BF9050ED336}" srcOrd="5" destOrd="0" presId="urn:microsoft.com/office/officeart/2008/layout/VerticalAccentList"/>
    <dgm:cxn modelId="{620E9ABD-DBFA-4696-9E45-B5B036405CD5}" type="presParOf" srcId="{A289A334-F39F-465A-9538-2E570B064E70}" destId="{8C67543A-EA43-4D42-8876-83F4F45D82E0}" srcOrd="6" destOrd="0" presId="urn:microsoft.com/office/officeart/2008/layout/VerticalAccentList"/>
    <dgm:cxn modelId="{884BC110-FF20-4512-BE30-A341190F8D33}" type="presParOf" srcId="{BD69CD0A-0079-4776-A350-E57AAE7EFF1D}" destId="{F4FFBA57-C286-4960-9C09-22F15B6697C0}" srcOrd="5" destOrd="0" presId="urn:microsoft.com/office/officeart/2008/layout/VerticalAccentList"/>
    <dgm:cxn modelId="{9C13CB72-9ACC-4A8F-9798-CB45E4A58E9F}" type="presParOf" srcId="{BD69CD0A-0079-4776-A350-E57AAE7EFF1D}" destId="{92BB4F52-EFED-434D-9C18-64C2BB22DD6E}" srcOrd="6" destOrd="0" presId="urn:microsoft.com/office/officeart/2008/layout/VerticalAccentList"/>
    <dgm:cxn modelId="{A90469A4-A217-4F02-905E-BC8E9BDF847E}" type="presParOf" srcId="{92BB4F52-EFED-434D-9C18-64C2BB22DD6E}" destId="{35C12C08-E231-44C3-90A4-A8051BDB9BC2}" srcOrd="0" destOrd="0" presId="urn:microsoft.com/office/officeart/2008/layout/VerticalAccentList"/>
    <dgm:cxn modelId="{AC449E8A-1D22-41DD-92B9-3CBDDA6AA509}" type="presParOf" srcId="{BD69CD0A-0079-4776-A350-E57AAE7EFF1D}" destId="{EF26A58B-8B91-4538-9365-51EE6B7361F3}" srcOrd="7" destOrd="0" presId="urn:microsoft.com/office/officeart/2008/layout/VerticalAccentList"/>
    <dgm:cxn modelId="{3CDB25DF-5DBF-48DE-BAAA-1C72A1328535}" type="presParOf" srcId="{EF26A58B-8B91-4538-9365-51EE6B7361F3}" destId="{D2D47059-B7A8-4B8F-BE28-ABC94E44A503}" srcOrd="0" destOrd="0" presId="urn:microsoft.com/office/officeart/2008/layout/VerticalAccentList"/>
    <dgm:cxn modelId="{4F7B6BF3-F953-4370-B933-C6473136A42C}" type="presParOf" srcId="{EF26A58B-8B91-4538-9365-51EE6B7361F3}" destId="{AF1DA337-24D9-476F-A093-3314F92DAC0A}" srcOrd="1" destOrd="0" presId="urn:microsoft.com/office/officeart/2008/layout/VerticalAccentList"/>
    <dgm:cxn modelId="{2235A1AF-4B1E-48B6-81F2-FC270CA19A8E}" type="presParOf" srcId="{EF26A58B-8B91-4538-9365-51EE6B7361F3}" destId="{0372389B-B1E0-4D29-89B4-8BDBE6388460}" srcOrd="2" destOrd="0" presId="urn:microsoft.com/office/officeart/2008/layout/VerticalAccentList"/>
    <dgm:cxn modelId="{0D012C7E-8E79-4D4D-8D49-D03BC417CDEC}" type="presParOf" srcId="{EF26A58B-8B91-4538-9365-51EE6B7361F3}" destId="{EF679906-B1C6-4E15-8607-541E7CE7A524}" srcOrd="3" destOrd="0" presId="urn:microsoft.com/office/officeart/2008/layout/VerticalAccentList"/>
    <dgm:cxn modelId="{466BABDB-0E2C-4658-B208-02946440A1F5}" type="presParOf" srcId="{EF26A58B-8B91-4538-9365-51EE6B7361F3}" destId="{2BE20A0A-5342-4BA5-A043-0FE03E8ECB37}" srcOrd="4" destOrd="0" presId="urn:microsoft.com/office/officeart/2008/layout/VerticalAccentList"/>
    <dgm:cxn modelId="{5B6AB2FA-7C7F-4C62-B192-A1834F99DE9A}" type="presParOf" srcId="{EF26A58B-8B91-4538-9365-51EE6B7361F3}" destId="{A3D353DC-7DA4-48E8-B594-D0BF75DEDA10}" srcOrd="5" destOrd="0" presId="urn:microsoft.com/office/officeart/2008/layout/VerticalAccentList"/>
    <dgm:cxn modelId="{153AF831-CA77-43DC-AE4F-E35EBAF149C4}" type="presParOf" srcId="{EF26A58B-8B91-4538-9365-51EE6B7361F3}" destId="{221BB847-1D56-49E3-A85B-49D61A1BD8B6}" srcOrd="6" destOrd="0" presId="urn:microsoft.com/office/officeart/2008/layout/VerticalAccentList"/>
    <dgm:cxn modelId="{89E5453B-7090-4F24-A8B2-66E11D710ABB}" type="presParOf" srcId="{BD69CD0A-0079-4776-A350-E57AAE7EFF1D}" destId="{69144EA8-69C2-4FD7-B039-926DECD3A2CD}" srcOrd="8" destOrd="0" presId="urn:microsoft.com/office/officeart/2008/layout/VerticalAccentList"/>
    <dgm:cxn modelId="{8CA70776-B496-40CE-A81C-A1522A9CA90A}" type="presParOf" srcId="{BD69CD0A-0079-4776-A350-E57AAE7EFF1D}" destId="{F7F6D444-614C-405A-B86E-04866F97850B}" srcOrd="9" destOrd="0" presId="urn:microsoft.com/office/officeart/2008/layout/VerticalAccentList"/>
    <dgm:cxn modelId="{ECAE8131-A123-4F2E-9E79-282E74BD015D}" type="presParOf" srcId="{F7F6D444-614C-405A-B86E-04866F97850B}" destId="{94AA1CE6-43C8-47F1-A987-4CC113EA3B60}" srcOrd="0" destOrd="0" presId="urn:microsoft.com/office/officeart/2008/layout/VerticalAccentList"/>
    <dgm:cxn modelId="{7DF477BF-7192-4974-80F8-6A41C2FA9718}" type="presParOf" srcId="{BD69CD0A-0079-4776-A350-E57AAE7EFF1D}" destId="{941F560D-842F-4253-B325-B735E987F5F1}" srcOrd="10" destOrd="0" presId="urn:microsoft.com/office/officeart/2008/layout/VerticalAccentList"/>
    <dgm:cxn modelId="{88817C48-75E3-4756-B8EB-82A858DBB0A8}" type="presParOf" srcId="{941F560D-842F-4253-B325-B735E987F5F1}" destId="{B5C6EC3D-B119-4A92-B68D-64FDCCCE285E}" srcOrd="0" destOrd="0" presId="urn:microsoft.com/office/officeart/2008/layout/VerticalAccentList"/>
    <dgm:cxn modelId="{CFF62F2B-1ADE-4D6B-A43E-E56DF9D1F69C}" type="presParOf" srcId="{941F560D-842F-4253-B325-B735E987F5F1}" destId="{71893474-5F77-46DA-AB7E-E16D79722D03}" srcOrd="1" destOrd="0" presId="urn:microsoft.com/office/officeart/2008/layout/VerticalAccentList"/>
    <dgm:cxn modelId="{E5DDA083-AF55-48D2-8AA9-FAE7DE07EB51}" type="presParOf" srcId="{941F560D-842F-4253-B325-B735E987F5F1}" destId="{2BAF00C3-5D49-4B8A-9A0C-7908254E141B}" srcOrd="2" destOrd="0" presId="urn:microsoft.com/office/officeart/2008/layout/VerticalAccentList"/>
    <dgm:cxn modelId="{34671991-0039-4ADE-9079-9928F5638153}" type="presParOf" srcId="{941F560D-842F-4253-B325-B735E987F5F1}" destId="{C0C23B75-A96A-4990-87EA-F1209E634DAA}" srcOrd="3" destOrd="0" presId="urn:microsoft.com/office/officeart/2008/layout/VerticalAccentList"/>
    <dgm:cxn modelId="{28EE4663-8C21-4393-A48C-4D0844011C57}" type="presParOf" srcId="{941F560D-842F-4253-B325-B735E987F5F1}" destId="{399B2CC5-AADD-4610-8C3E-FB2BAAD610FF}" srcOrd="4" destOrd="0" presId="urn:microsoft.com/office/officeart/2008/layout/VerticalAccentList"/>
    <dgm:cxn modelId="{38881CB5-73B3-4F6B-9FBB-8A2988973379}" type="presParOf" srcId="{941F560D-842F-4253-B325-B735E987F5F1}" destId="{ED919C07-87DD-4636-99AE-9B44C3DCE815}" srcOrd="5" destOrd="0" presId="urn:microsoft.com/office/officeart/2008/layout/VerticalAccentList"/>
    <dgm:cxn modelId="{EA4E6298-DC0C-4DAB-9850-1B30805D18E9}" type="presParOf" srcId="{941F560D-842F-4253-B325-B735E987F5F1}" destId="{0510D5D6-BC4F-49A9-8EE5-DA08B162BC34}" srcOrd="6" destOrd="0" presId="urn:microsoft.com/office/officeart/2008/layout/VerticalAccentList"/>
    <dgm:cxn modelId="{1A656DB9-831E-4D90-AC16-530ABA72DE15}" type="presParOf" srcId="{BD69CD0A-0079-4776-A350-E57AAE7EFF1D}" destId="{B1350729-A4F3-49AC-94FE-5FE9E44D10ED}" srcOrd="11" destOrd="0" presId="urn:microsoft.com/office/officeart/2008/layout/VerticalAccentList"/>
    <dgm:cxn modelId="{E1103EBB-5BFF-4F64-BA42-A533A4217FF2}" type="presParOf" srcId="{BD69CD0A-0079-4776-A350-E57AAE7EFF1D}" destId="{C42B8B13-58D2-438C-9466-7F5AFEE6CF36}" srcOrd="12" destOrd="0" presId="urn:microsoft.com/office/officeart/2008/layout/VerticalAccentList"/>
    <dgm:cxn modelId="{78796D97-29DC-4D87-9D15-8D0FE0B9E0A8}" type="presParOf" srcId="{C42B8B13-58D2-438C-9466-7F5AFEE6CF36}" destId="{47D1A434-AE03-4783-BD99-D24E47DE58C9}" srcOrd="0" destOrd="0" presId="urn:microsoft.com/office/officeart/2008/layout/VerticalAccentList"/>
    <dgm:cxn modelId="{84D0B3E7-7BEE-4CF7-A2BD-AFDC9A7A9909}" type="presParOf" srcId="{BD69CD0A-0079-4776-A350-E57AAE7EFF1D}" destId="{A9D4263C-D444-41E0-B6CE-71B3AC62F82D}" srcOrd="13" destOrd="0" presId="urn:microsoft.com/office/officeart/2008/layout/VerticalAccentList"/>
    <dgm:cxn modelId="{59FB372B-926A-4263-A663-384EE1108D21}" type="presParOf" srcId="{A9D4263C-D444-41E0-B6CE-71B3AC62F82D}" destId="{45A5486A-DA9E-4A1F-A3EF-3221E42B8910}" srcOrd="0" destOrd="0" presId="urn:microsoft.com/office/officeart/2008/layout/VerticalAccentList"/>
    <dgm:cxn modelId="{79AAE131-B81A-4FBF-B209-118D10F97701}" type="presParOf" srcId="{A9D4263C-D444-41E0-B6CE-71B3AC62F82D}" destId="{D2730771-AEBC-459F-AE95-A132169E465A}" srcOrd="1" destOrd="0" presId="urn:microsoft.com/office/officeart/2008/layout/VerticalAccentList"/>
    <dgm:cxn modelId="{DA172EBA-C2DC-443A-9489-3D33E8EFE122}" type="presParOf" srcId="{A9D4263C-D444-41E0-B6CE-71B3AC62F82D}" destId="{FAFD6AF7-89C0-44A4-A9F0-F11E103126D4}" srcOrd="2" destOrd="0" presId="urn:microsoft.com/office/officeart/2008/layout/VerticalAccentList"/>
    <dgm:cxn modelId="{4FB2BFB8-2DEB-4674-8BC8-B8E1CA6C8E86}" type="presParOf" srcId="{A9D4263C-D444-41E0-B6CE-71B3AC62F82D}" destId="{8EC81BE2-BDE4-4F24-BFCD-D3101C6BB928}" srcOrd="3" destOrd="0" presId="urn:microsoft.com/office/officeart/2008/layout/VerticalAccentList"/>
    <dgm:cxn modelId="{E692EAD6-20DD-4EE2-BC34-AB2B61F1ACB0}" type="presParOf" srcId="{A9D4263C-D444-41E0-B6CE-71B3AC62F82D}" destId="{61654A19-2482-404F-967B-A56ABBA66CE2}" srcOrd="4" destOrd="0" presId="urn:microsoft.com/office/officeart/2008/layout/VerticalAccentList"/>
    <dgm:cxn modelId="{49F26FF1-1951-415F-B3CC-4581721B006E}" type="presParOf" srcId="{A9D4263C-D444-41E0-B6CE-71B3AC62F82D}" destId="{E7373191-2611-436A-9126-202BB6103F39}" srcOrd="5" destOrd="0" presId="urn:microsoft.com/office/officeart/2008/layout/VerticalAccentList"/>
    <dgm:cxn modelId="{7BE26F54-B2D4-48AE-A6A4-08CFB543223E}" type="presParOf" srcId="{A9D4263C-D444-41E0-B6CE-71B3AC62F82D}" destId="{FAD56E3E-67A2-4631-A0DB-D0DCF848E5A4}" srcOrd="6" destOrd="0" presId="urn:microsoft.com/office/officeart/2008/layout/VerticalAccentList"/>
    <dgm:cxn modelId="{9AAF7BAD-39F7-4AEC-8EA8-36B4EC9A0E26}" type="presParOf" srcId="{BD69CD0A-0079-4776-A350-E57AAE7EFF1D}" destId="{67280940-DF41-4B2F-AB52-2E21FEAEE211}" srcOrd="14" destOrd="0" presId="urn:microsoft.com/office/officeart/2008/layout/VerticalAccentList"/>
    <dgm:cxn modelId="{DE81912E-48A5-4846-90BB-8D7CFC60C3E8}" type="presParOf" srcId="{BD69CD0A-0079-4776-A350-E57AAE7EFF1D}" destId="{AE745B9A-2832-4A69-9A3C-35043E06A633}" srcOrd="15" destOrd="0" presId="urn:microsoft.com/office/officeart/2008/layout/VerticalAccentList"/>
    <dgm:cxn modelId="{F0B129BC-B381-4CA2-ADE8-6C36E8185A6B}" type="presParOf" srcId="{AE745B9A-2832-4A69-9A3C-35043E06A633}" destId="{D473AA0F-3E7A-4003-9E7F-2259F8EC882B}" srcOrd="0" destOrd="0" presId="urn:microsoft.com/office/officeart/2008/layout/VerticalAccentList"/>
    <dgm:cxn modelId="{A284754A-54DE-4C43-B669-8522F4FB0B05}" type="presParOf" srcId="{BD69CD0A-0079-4776-A350-E57AAE7EFF1D}" destId="{8A773C21-B081-43BE-9EA2-FE2B55B6CCF0}" srcOrd="16" destOrd="0" presId="urn:microsoft.com/office/officeart/2008/layout/VerticalAccentList"/>
    <dgm:cxn modelId="{8D4EC041-779B-4025-B174-A9918A1C4946}" type="presParOf" srcId="{8A773C21-B081-43BE-9EA2-FE2B55B6CCF0}" destId="{69642AD1-54E3-40CA-8895-E25DEE93A5E5}" srcOrd="0" destOrd="0" presId="urn:microsoft.com/office/officeart/2008/layout/VerticalAccentList"/>
    <dgm:cxn modelId="{C66D0970-8384-43CD-9420-FC55812EDEC2}" type="presParOf" srcId="{8A773C21-B081-43BE-9EA2-FE2B55B6CCF0}" destId="{3A148B7A-D9BD-47E3-982D-727637E9DB7C}" srcOrd="1" destOrd="0" presId="urn:microsoft.com/office/officeart/2008/layout/VerticalAccentList"/>
    <dgm:cxn modelId="{64F1E110-A33D-41CB-86E1-428D8E93C8A4}" type="presParOf" srcId="{8A773C21-B081-43BE-9EA2-FE2B55B6CCF0}" destId="{5B19DB72-EF40-4823-9146-98D500774B06}" srcOrd="2" destOrd="0" presId="urn:microsoft.com/office/officeart/2008/layout/VerticalAccentList"/>
    <dgm:cxn modelId="{F8D8A5E5-67DD-4826-B3DA-A327A4789B4F}" type="presParOf" srcId="{8A773C21-B081-43BE-9EA2-FE2B55B6CCF0}" destId="{61E34143-3F60-4B18-A8D0-25D8B34B509B}" srcOrd="3" destOrd="0" presId="urn:microsoft.com/office/officeart/2008/layout/VerticalAccentList"/>
    <dgm:cxn modelId="{ED2924E0-7A94-4A0E-9E4E-4534CEFA1E46}" type="presParOf" srcId="{8A773C21-B081-43BE-9EA2-FE2B55B6CCF0}" destId="{BAE59986-7FCF-41E7-B38A-86D1FDC9A007}" srcOrd="4" destOrd="0" presId="urn:microsoft.com/office/officeart/2008/layout/VerticalAccentList"/>
    <dgm:cxn modelId="{DE215E46-7A0E-4CF3-A3B1-EC48E735B541}" type="presParOf" srcId="{8A773C21-B081-43BE-9EA2-FE2B55B6CCF0}" destId="{B1BF8DFB-D365-4B96-B276-07B5B55D4042}" srcOrd="5" destOrd="0" presId="urn:microsoft.com/office/officeart/2008/layout/VerticalAccentList"/>
    <dgm:cxn modelId="{1AFAE1C7-D97B-4EC8-B7B2-8452BD237C67}" type="presParOf" srcId="{8A773C21-B081-43BE-9EA2-FE2B55B6CCF0}" destId="{5D085CC1-DBCE-4860-9C31-BF054C211C36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5D0320-51EB-41EB-8D2C-534858B29EE1}">
      <dsp:nvSpPr>
        <dsp:cNvPr id="0" name=""/>
        <dsp:cNvSpPr/>
      </dsp:nvSpPr>
      <dsp:spPr>
        <a:xfrm>
          <a:off x="0" y="178385"/>
          <a:ext cx="6705600" cy="141453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8100" dist="300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marL="0" lvl="0" indent="0" algn="ctr" defTabSz="1733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b="1" kern="1200" baseline="0" dirty="0"/>
            <a:t>Pediatric Emergency Medicine Fellowship Overview 2022</a:t>
          </a:r>
          <a:endParaRPr lang="en-US" sz="3900" kern="1200" dirty="0"/>
        </a:p>
      </dsp:txBody>
      <dsp:txXfrm>
        <a:off x="69052" y="247437"/>
        <a:ext cx="6567496" cy="127642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828E04-7117-40A4-BB3C-9B016BAD91D0}">
      <dsp:nvSpPr>
        <dsp:cNvPr id="0" name=""/>
        <dsp:cNvSpPr/>
      </dsp:nvSpPr>
      <dsp:spPr>
        <a:xfrm>
          <a:off x="0" y="92279"/>
          <a:ext cx="8763000" cy="10155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Provide ED evaluation and management of acutely ill or injured pediatric patients</a:t>
          </a:r>
        </a:p>
      </dsp:txBody>
      <dsp:txXfrm>
        <a:off x="49576" y="141855"/>
        <a:ext cx="8663848" cy="916408"/>
      </dsp:txXfrm>
    </dsp:sp>
    <dsp:sp modelId="{08C4DB6B-A884-46CE-908B-7ABDC238CEDC}">
      <dsp:nvSpPr>
        <dsp:cNvPr id="0" name=""/>
        <dsp:cNvSpPr/>
      </dsp:nvSpPr>
      <dsp:spPr>
        <a:xfrm>
          <a:off x="0" y="1107840"/>
          <a:ext cx="8763000" cy="1564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8225" tIns="35560" rIns="199136" bIns="35560" numCol="1" spcCol="1270" anchor="t" anchorCtr="0">
          <a:noAutofit/>
        </a:bodyPr>
        <a:lstStyle/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200" kern="1200"/>
            <a:t>Perform patient evaluations quickly with stabilization of life threatening processes</a:t>
          </a: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200" kern="1200" dirty="0"/>
            <a:t>Develop competency in technical/procedural and resuscitation skills necessary to practice PEM </a:t>
          </a:r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200" kern="1200" dirty="0"/>
            <a:t>Academic and community experience</a:t>
          </a:r>
        </a:p>
      </dsp:txBody>
      <dsp:txXfrm>
        <a:off x="0" y="1107840"/>
        <a:ext cx="8763000" cy="1564920"/>
      </dsp:txXfrm>
    </dsp:sp>
    <dsp:sp modelId="{994FCE12-DCC1-4650-9E42-84BC66652CCC}">
      <dsp:nvSpPr>
        <dsp:cNvPr id="0" name=""/>
        <dsp:cNvSpPr/>
      </dsp:nvSpPr>
      <dsp:spPr>
        <a:xfrm>
          <a:off x="0" y="2672760"/>
          <a:ext cx="8763000" cy="101556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Prioritize and simultaneously manage the emergency care of multiple patients</a:t>
          </a:r>
        </a:p>
      </dsp:txBody>
      <dsp:txXfrm>
        <a:off x="49576" y="2722336"/>
        <a:ext cx="8663848" cy="916408"/>
      </dsp:txXfrm>
    </dsp:sp>
    <dsp:sp modelId="{B4DF9B10-E607-4D8B-9472-3321BF2D8044}">
      <dsp:nvSpPr>
        <dsp:cNvPr id="0" name=""/>
        <dsp:cNvSpPr/>
      </dsp:nvSpPr>
      <dsp:spPr>
        <a:xfrm>
          <a:off x="0" y="3768960"/>
          <a:ext cx="8763000" cy="101556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Use evidence based reasoning to guide clinical practice</a:t>
          </a:r>
        </a:p>
      </dsp:txBody>
      <dsp:txXfrm>
        <a:off x="49576" y="3818536"/>
        <a:ext cx="8663848" cy="91640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C7BDBE-936B-437D-B746-440B3CEC2B5D}">
      <dsp:nvSpPr>
        <dsp:cNvPr id="0" name=""/>
        <dsp:cNvSpPr/>
      </dsp:nvSpPr>
      <dsp:spPr>
        <a:xfrm>
          <a:off x="0" y="0"/>
          <a:ext cx="8001000" cy="7581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chieve proficiency in teaching to different types of learners and in a variety of clinical settings </a:t>
          </a:r>
        </a:p>
      </dsp:txBody>
      <dsp:txXfrm>
        <a:off x="37010" y="37010"/>
        <a:ext cx="7926980" cy="684140"/>
      </dsp:txXfrm>
    </dsp:sp>
    <dsp:sp modelId="{1B8FEFC9-B22F-4BA1-8F00-39AAA1D2AFB0}">
      <dsp:nvSpPr>
        <dsp:cNvPr id="0" name=""/>
        <dsp:cNvSpPr/>
      </dsp:nvSpPr>
      <dsp:spPr>
        <a:xfrm>
          <a:off x="0" y="793200"/>
          <a:ext cx="8001000" cy="758160"/>
        </a:xfrm>
        <a:prstGeom prst="roundRect">
          <a:avLst/>
        </a:prstGeom>
        <a:solidFill>
          <a:schemeClr val="accent2">
            <a:hueOff val="-3103072"/>
            <a:satOff val="-5817"/>
            <a:lumOff val="596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Teach at the bedside</a:t>
          </a:r>
          <a:endParaRPr lang="en-US" sz="2000" kern="1200" dirty="0"/>
        </a:p>
      </dsp:txBody>
      <dsp:txXfrm>
        <a:off x="37010" y="830210"/>
        <a:ext cx="7926980" cy="684140"/>
      </dsp:txXfrm>
    </dsp:sp>
    <dsp:sp modelId="{9CDBB6CE-7E44-4393-8992-C1DA12411A07}">
      <dsp:nvSpPr>
        <dsp:cNvPr id="0" name=""/>
        <dsp:cNvSpPr/>
      </dsp:nvSpPr>
      <dsp:spPr>
        <a:xfrm>
          <a:off x="0" y="1551360"/>
          <a:ext cx="8001000" cy="645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32" tIns="25400" rIns="142240" bIns="2540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 dirty="0"/>
            <a:t>TCH main and WC (resident and med student supervision)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 dirty="0"/>
            <a:t>Core medical student teaching shifts (1p-6p Tues)</a:t>
          </a:r>
        </a:p>
      </dsp:txBody>
      <dsp:txXfrm>
        <a:off x="0" y="1551360"/>
        <a:ext cx="8001000" cy="645840"/>
      </dsp:txXfrm>
    </dsp:sp>
    <dsp:sp modelId="{024C54D6-A683-419B-AE0C-0EAB7DD67EE0}">
      <dsp:nvSpPr>
        <dsp:cNvPr id="0" name=""/>
        <dsp:cNvSpPr/>
      </dsp:nvSpPr>
      <dsp:spPr>
        <a:xfrm>
          <a:off x="0" y="2197200"/>
          <a:ext cx="8001000" cy="758160"/>
        </a:xfrm>
        <a:prstGeom prst="roundRect">
          <a:avLst/>
        </a:prstGeom>
        <a:solidFill>
          <a:schemeClr val="accent2">
            <a:hueOff val="-6206144"/>
            <a:satOff val="-11634"/>
            <a:lumOff val="1192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EC rounds</a:t>
          </a:r>
          <a:endParaRPr lang="en-US" sz="2000" kern="1200" dirty="0"/>
        </a:p>
      </dsp:txBody>
      <dsp:txXfrm>
        <a:off x="37010" y="2234210"/>
        <a:ext cx="7926980" cy="684140"/>
      </dsp:txXfrm>
    </dsp:sp>
    <dsp:sp modelId="{E0E8B521-14B1-4733-8C7E-98F95C0B192B}">
      <dsp:nvSpPr>
        <dsp:cNvPr id="0" name=""/>
        <dsp:cNvSpPr/>
      </dsp:nvSpPr>
      <dsp:spPr>
        <a:xfrm>
          <a:off x="0" y="2989920"/>
          <a:ext cx="8001000" cy="758160"/>
        </a:xfrm>
        <a:prstGeom prst="roundRect">
          <a:avLst/>
        </a:prstGeom>
        <a:solidFill>
          <a:schemeClr val="accent2">
            <a:hueOff val="-9309216"/>
            <a:satOff val="-17450"/>
            <a:lumOff val="1788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Lead small and large group discussions</a:t>
          </a:r>
        </a:p>
      </dsp:txBody>
      <dsp:txXfrm>
        <a:off x="37010" y="3026930"/>
        <a:ext cx="7926980" cy="684140"/>
      </dsp:txXfrm>
    </dsp:sp>
    <dsp:sp modelId="{0AD35089-8020-4AA2-AB11-20957BF034C1}">
      <dsp:nvSpPr>
        <dsp:cNvPr id="0" name=""/>
        <dsp:cNvSpPr/>
      </dsp:nvSpPr>
      <dsp:spPr>
        <a:xfrm>
          <a:off x="0" y="3782640"/>
          <a:ext cx="8001000" cy="758160"/>
        </a:xfrm>
        <a:prstGeom prst="roundRect">
          <a:avLst/>
        </a:prstGeom>
        <a:solidFill>
          <a:schemeClr val="accent2">
            <a:hueOff val="-12412288"/>
            <a:satOff val="-23267"/>
            <a:lumOff val="2384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Prepare and present lectures</a:t>
          </a:r>
        </a:p>
      </dsp:txBody>
      <dsp:txXfrm>
        <a:off x="37010" y="3819650"/>
        <a:ext cx="7926980" cy="684140"/>
      </dsp:txXfrm>
    </dsp:sp>
    <dsp:sp modelId="{74394E88-3206-4D94-8B22-F954A7CD1597}">
      <dsp:nvSpPr>
        <dsp:cNvPr id="0" name=""/>
        <dsp:cNvSpPr/>
      </dsp:nvSpPr>
      <dsp:spPr>
        <a:xfrm>
          <a:off x="0" y="4575360"/>
          <a:ext cx="8001000" cy="758160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Become PALS instructors and/or simulation instructors</a:t>
          </a:r>
        </a:p>
      </dsp:txBody>
      <dsp:txXfrm>
        <a:off x="37010" y="4612370"/>
        <a:ext cx="7926980" cy="684140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B49227-3D88-40E2-8B4E-A171CA2948AE}">
      <dsp:nvSpPr>
        <dsp:cNvPr id="0" name=""/>
        <dsp:cNvSpPr/>
      </dsp:nvSpPr>
      <dsp:spPr>
        <a:xfrm>
          <a:off x="0" y="73380"/>
          <a:ext cx="7685087" cy="5615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Acquire skills necessary for ED management</a:t>
          </a:r>
          <a:endParaRPr lang="en-US" sz="2400" kern="1200" dirty="0"/>
        </a:p>
      </dsp:txBody>
      <dsp:txXfrm>
        <a:off x="27415" y="100795"/>
        <a:ext cx="7630257" cy="506769"/>
      </dsp:txXfrm>
    </dsp:sp>
    <dsp:sp modelId="{15046B69-B67A-4C5F-9D50-F8AA0A901492}">
      <dsp:nvSpPr>
        <dsp:cNvPr id="0" name=""/>
        <dsp:cNvSpPr/>
      </dsp:nvSpPr>
      <dsp:spPr>
        <a:xfrm>
          <a:off x="0" y="634980"/>
          <a:ext cx="7685087" cy="1242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4002" tIns="30480" rIns="170688" bIns="30480" numCol="1" spcCol="1270" anchor="t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/>
            <a:t>Supervise physician trainees</a:t>
          </a: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 dirty="0"/>
            <a:t>Manage personnel </a:t>
          </a: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/>
            <a:t>Serve as team lead during resuscitations</a:t>
          </a: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/>
            <a:t>Manage patient throughput</a:t>
          </a:r>
        </a:p>
      </dsp:txBody>
      <dsp:txXfrm>
        <a:off x="0" y="634980"/>
        <a:ext cx="7685087" cy="1242000"/>
      </dsp:txXfrm>
    </dsp:sp>
    <dsp:sp modelId="{B1E3C888-9293-438E-BB17-8F131AC64714}">
      <dsp:nvSpPr>
        <dsp:cNvPr id="0" name=""/>
        <dsp:cNvSpPr/>
      </dsp:nvSpPr>
      <dsp:spPr>
        <a:xfrm>
          <a:off x="0" y="1885352"/>
          <a:ext cx="7685087" cy="561599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Practice appropriate medical record documentation</a:t>
          </a:r>
          <a:endParaRPr lang="en-US" sz="2400" kern="1200" dirty="0"/>
        </a:p>
      </dsp:txBody>
      <dsp:txXfrm>
        <a:off x="27415" y="1912767"/>
        <a:ext cx="7630257" cy="506769"/>
      </dsp:txXfrm>
    </dsp:sp>
    <dsp:sp modelId="{94278271-9806-4244-9DC7-5CA5F893FA12}">
      <dsp:nvSpPr>
        <dsp:cNvPr id="0" name=""/>
        <dsp:cNvSpPr/>
      </dsp:nvSpPr>
      <dsp:spPr>
        <a:xfrm>
          <a:off x="0" y="2438580"/>
          <a:ext cx="7685087" cy="943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4002" tIns="30480" rIns="170688" bIns="30480" numCol="1" spcCol="1270" anchor="t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/>
            <a:t>Relay information regarding patient care delivered</a:t>
          </a: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/>
            <a:t>Document medical decision making processes</a:t>
          </a:r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900" kern="1200"/>
            <a:t>Support billing for medical care provided</a:t>
          </a:r>
        </a:p>
      </dsp:txBody>
      <dsp:txXfrm>
        <a:off x="0" y="2438580"/>
        <a:ext cx="7685087" cy="943920"/>
      </dsp:txXfrm>
    </dsp:sp>
    <dsp:sp modelId="{3B83A9E1-E2DD-4871-AD8D-FAE55A5F1CC5}">
      <dsp:nvSpPr>
        <dsp:cNvPr id="0" name=""/>
        <dsp:cNvSpPr/>
      </dsp:nvSpPr>
      <dsp:spPr>
        <a:xfrm>
          <a:off x="0" y="3382500"/>
          <a:ext cx="7685087" cy="561599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Gain exposure to financial management in health care</a:t>
          </a:r>
          <a:endParaRPr lang="en-US" sz="2400" kern="1200" dirty="0"/>
        </a:p>
      </dsp:txBody>
      <dsp:txXfrm>
        <a:off x="27415" y="3409915"/>
        <a:ext cx="7630257" cy="506769"/>
      </dsp:txXfrm>
    </dsp:sp>
    <dsp:sp modelId="{64B83644-0F44-4AD5-BC51-38D054397A70}">
      <dsp:nvSpPr>
        <dsp:cNvPr id="0" name=""/>
        <dsp:cNvSpPr/>
      </dsp:nvSpPr>
      <dsp:spPr>
        <a:xfrm>
          <a:off x="0" y="4013220"/>
          <a:ext cx="7685087" cy="561599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Develop leadership skills</a:t>
          </a:r>
          <a:endParaRPr lang="en-US" sz="2400" kern="1200" dirty="0"/>
        </a:p>
      </dsp:txBody>
      <dsp:txXfrm>
        <a:off x="27415" y="4040635"/>
        <a:ext cx="7630257" cy="506769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8E99E2-0168-459B-8AE2-867E608EAC01}">
      <dsp:nvSpPr>
        <dsp:cNvPr id="0" name=""/>
        <dsp:cNvSpPr/>
      </dsp:nvSpPr>
      <dsp:spPr>
        <a:xfrm>
          <a:off x="0" y="37652"/>
          <a:ext cx="6705600" cy="9430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47625" cap="flat" cmpd="dbl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30000" dir="5400000" rotWithShape="0">
            <a:srgbClr val="000000">
              <a:alpha val="45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Gain knowledge in quality improvement methods and data gathering</a:t>
          </a:r>
        </a:p>
      </dsp:txBody>
      <dsp:txXfrm>
        <a:off x="46034" y="83686"/>
        <a:ext cx="6613532" cy="850952"/>
      </dsp:txXfrm>
    </dsp:sp>
    <dsp:sp modelId="{68461D4B-EDE9-4ED5-B4DB-A6D1FCA6528C}">
      <dsp:nvSpPr>
        <dsp:cNvPr id="0" name=""/>
        <dsp:cNvSpPr/>
      </dsp:nvSpPr>
      <dsp:spPr>
        <a:xfrm>
          <a:off x="0" y="1063289"/>
          <a:ext cx="6705600" cy="943020"/>
        </a:xfrm>
        <a:prstGeom prst="roundRect">
          <a:avLst/>
        </a:prstGeom>
        <a:solidFill>
          <a:schemeClr val="accent2">
            <a:hueOff val="-3878840"/>
            <a:satOff val="-7271"/>
            <a:lumOff val="7451"/>
            <a:alphaOff val="0"/>
          </a:schemeClr>
        </a:solidFill>
        <a:ln w="47625" cap="flat" cmpd="dbl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30000" dir="5400000" rotWithShape="0">
            <a:srgbClr val="000000">
              <a:alpha val="45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Conduct performance improvement review </a:t>
          </a:r>
          <a:endParaRPr lang="en-US" sz="2600" kern="1200" dirty="0"/>
        </a:p>
      </dsp:txBody>
      <dsp:txXfrm>
        <a:off x="46034" y="1109323"/>
        <a:ext cx="6613532" cy="850952"/>
      </dsp:txXfrm>
    </dsp:sp>
    <dsp:sp modelId="{5B0CAEAF-556A-4381-AFB4-818056567075}">
      <dsp:nvSpPr>
        <dsp:cNvPr id="0" name=""/>
        <dsp:cNvSpPr/>
      </dsp:nvSpPr>
      <dsp:spPr>
        <a:xfrm>
          <a:off x="0" y="2081189"/>
          <a:ext cx="6705600" cy="943020"/>
        </a:xfrm>
        <a:prstGeom prst="roundRect">
          <a:avLst/>
        </a:prstGeom>
        <a:solidFill>
          <a:schemeClr val="accent2">
            <a:hueOff val="-7757680"/>
            <a:satOff val="-14542"/>
            <a:lumOff val="14902"/>
            <a:alphaOff val="0"/>
          </a:schemeClr>
        </a:solidFill>
        <a:ln w="47625" cap="flat" cmpd="dbl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30000" dir="5400000" rotWithShape="0">
            <a:srgbClr val="000000">
              <a:alpha val="45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Develop EBM guidelines</a:t>
          </a:r>
        </a:p>
      </dsp:txBody>
      <dsp:txXfrm>
        <a:off x="46034" y="2127223"/>
        <a:ext cx="6613532" cy="850952"/>
      </dsp:txXfrm>
    </dsp:sp>
    <dsp:sp modelId="{38A98D62-5CE7-44A9-A6BB-0EBD0ADDCC5D}">
      <dsp:nvSpPr>
        <dsp:cNvPr id="0" name=""/>
        <dsp:cNvSpPr/>
      </dsp:nvSpPr>
      <dsp:spPr>
        <a:xfrm>
          <a:off x="0" y="3099089"/>
          <a:ext cx="6705600" cy="943020"/>
        </a:xfrm>
        <a:prstGeom prst="roundRect">
          <a:avLst/>
        </a:prstGeom>
        <a:solidFill>
          <a:schemeClr val="accent2">
            <a:hueOff val="-11636519"/>
            <a:satOff val="-21813"/>
            <a:lumOff val="22353"/>
            <a:alphaOff val="0"/>
          </a:schemeClr>
        </a:solidFill>
        <a:ln w="47625" cap="flat" cmpd="dbl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30000" dir="5400000" rotWithShape="0">
            <a:srgbClr val="000000">
              <a:alpha val="45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Identify patient safety or quality issues </a:t>
          </a:r>
        </a:p>
      </dsp:txBody>
      <dsp:txXfrm>
        <a:off x="46034" y="3145123"/>
        <a:ext cx="6613532" cy="850952"/>
      </dsp:txXfrm>
    </dsp:sp>
    <dsp:sp modelId="{06000B56-185C-4A16-B7C3-87E21C977AC7}">
      <dsp:nvSpPr>
        <dsp:cNvPr id="0" name=""/>
        <dsp:cNvSpPr/>
      </dsp:nvSpPr>
      <dsp:spPr>
        <a:xfrm>
          <a:off x="0" y="4116990"/>
          <a:ext cx="6705600" cy="943020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47625" cap="flat" cmpd="dbl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30000" dir="5400000" rotWithShape="0">
            <a:srgbClr val="000000">
              <a:alpha val="45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Design and conduct a quality project</a:t>
          </a:r>
        </a:p>
      </dsp:txBody>
      <dsp:txXfrm>
        <a:off x="46034" y="4163024"/>
        <a:ext cx="6613532" cy="850952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F193FC-8B12-4737-8FCE-E43DE14FB5D9}">
      <dsp:nvSpPr>
        <dsp:cNvPr id="0" name=""/>
        <dsp:cNvSpPr/>
      </dsp:nvSpPr>
      <dsp:spPr>
        <a:xfrm>
          <a:off x="0" y="323219"/>
          <a:ext cx="7391400" cy="50193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Create and revise individualized learning plan</a:t>
          </a:r>
        </a:p>
      </dsp:txBody>
      <dsp:txXfrm>
        <a:off x="24502" y="347721"/>
        <a:ext cx="7342396" cy="452926"/>
      </dsp:txXfrm>
    </dsp:sp>
    <dsp:sp modelId="{2C80B47A-6A4F-4237-91E5-DBAA7F87A93C}">
      <dsp:nvSpPr>
        <dsp:cNvPr id="0" name=""/>
        <dsp:cNvSpPr/>
      </dsp:nvSpPr>
      <dsp:spPr>
        <a:xfrm>
          <a:off x="0" y="873000"/>
          <a:ext cx="7391400" cy="501930"/>
        </a:xfrm>
        <a:prstGeom prst="roundRect">
          <a:avLst/>
        </a:prstGeom>
        <a:solidFill>
          <a:schemeClr val="accent2">
            <a:hueOff val="-2216480"/>
            <a:satOff val="-4155"/>
            <a:lumOff val="4258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Build on your CV</a:t>
          </a:r>
          <a:endParaRPr lang="en-US" sz="2200" kern="1200" dirty="0"/>
        </a:p>
      </dsp:txBody>
      <dsp:txXfrm>
        <a:off x="24502" y="897502"/>
        <a:ext cx="7342396" cy="452926"/>
      </dsp:txXfrm>
    </dsp:sp>
    <dsp:sp modelId="{A5300E68-15AF-41FD-B87C-99CD2729CF2E}">
      <dsp:nvSpPr>
        <dsp:cNvPr id="0" name=""/>
        <dsp:cNvSpPr/>
      </dsp:nvSpPr>
      <dsp:spPr>
        <a:xfrm>
          <a:off x="0" y="1453799"/>
          <a:ext cx="7391400" cy="501930"/>
        </a:xfrm>
        <a:prstGeom prst="roundRect">
          <a:avLst/>
        </a:prstGeom>
        <a:solidFill>
          <a:schemeClr val="accent2">
            <a:hueOff val="-4432960"/>
            <a:satOff val="-8310"/>
            <a:lumOff val="851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Receive &amp; provide mentorship</a:t>
          </a:r>
          <a:endParaRPr lang="en-US" sz="2200" kern="1200" dirty="0"/>
        </a:p>
      </dsp:txBody>
      <dsp:txXfrm>
        <a:off x="24502" y="1478301"/>
        <a:ext cx="7342396" cy="452926"/>
      </dsp:txXfrm>
    </dsp:sp>
    <dsp:sp modelId="{CAAF6B64-05B1-4D99-99ED-22B2F584D06B}">
      <dsp:nvSpPr>
        <dsp:cNvPr id="0" name=""/>
        <dsp:cNvSpPr/>
      </dsp:nvSpPr>
      <dsp:spPr>
        <a:xfrm>
          <a:off x="0" y="2019089"/>
          <a:ext cx="7391400" cy="501930"/>
        </a:xfrm>
        <a:prstGeom prst="roundRect">
          <a:avLst/>
        </a:prstGeom>
        <a:solidFill>
          <a:schemeClr val="accent2">
            <a:hueOff val="-6649440"/>
            <a:satOff val="-12465"/>
            <a:lumOff val="1277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Balance clinical and academic duties</a:t>
          </a:r>
        </a:p>
      </dsp:txBody>
      <dsp:txXfrm>
        <a:off x="24502" y="2043591"/>
        <a:ext cx="7342396" cy="452926"/>
      </dsp:txXfrm>
    </dsp:sp>
    <dsp:sp modelId="{604CB48B-50E4-4A1C-B22E-6FF9C92314C9}">
      <dsp:nvSpPr>
        <dsp:cNvPr id="0" name=""/>
        <dsp:cNvSpPr/>
      </dsp:nvSpPr>
      <dsp:spPr>
        <a:xfrm>
          <a:off x="0" y="2584379"/>
          <a:ext cx="7391400" cy="501930"/>
        </a:xfrm>
        <a:prstGeom prst="roundRect">
          <a:avLst/>
        </a:prstGeom>
        <a:solidFill>
          <a:schemeClr val="accent2">
            <a:hueOff val="-8865920"/>
            <a:satOff val="-16619"/>
            <a:lumOff val="1703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Review principles of academic advancement</a:t>
          </a:r>
        </a:p>
      </dsp:txBody>
      <dsp:txXfrm>
        <a:off x="24502" y="2608881"/>
        <a:ext cx="7342396" cy="452926"/>
      </dsp:txXfrm>
    </dsp:sp>
    <dsp:sp modelId="{4121659D-C1FA-4EBB-B2BE-85C14FA34AB3}">
      <dsp:nvSpPr>
        <dsp:cNvPr id="0" name=""/>
        <dsp:cNvSpPr/>
      </dsp:nvSpPr>
      <dsp:spPr>
        <a:xfrm>
          <a:off x="0" y="3149669"/>
          <a:ext cx="7391400" cy="501930"/>
        </a:xfrm>
        <a:prstGeom prst="roundRect">
          <a:avLst/>
        </a:prstGeom>
        <a:solidFill>
          <a:schemeClr val="accent2">
            <a:hueOff val="-11082400"/>
            <a:satOff val="-20774"/>
            <a:lumOff val="2128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Create a 5 year plan</a:t>
          </a:r>
        </a:p>
      </dsp:txBody>
      <dsp:txXfrm>
        <a:off x="24502" y="3174171"/>
        <a:ext cx="7342396" cy="452926"/>
      </dsp:txXfrm>
    </dsp:sp>
    <dsp:sp modelId="{53472C53-8C58-4C13-86A7-7848C9A64F7C}">
      <dsp:nvSpPr>
        <dsp:cNvPr id="0" name=""/>
        <dsp:cNvSpPr/>
      </dsp:nvSpPr>
      <dsp:spPr>
        <a:xfrm>
          <a:off x="0" y="3714960"/>
          <a:ext cx="7391400" cy="501930"/>
        </a:xfrm>
        <a:prstGeom prst="roundRect">
          <a:avLst/>
        </a:prstGeom>
        <a:solidFill>
          <a:schemeClr val="accent2">
            <a:hueOff val="-13298880"/>
            <a:satOff val="-24929"/>
            <a:lumOff val="25546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Gain awareness of job market demands</a:t>
          </a:r>
        </a:p>
      </dsp:txBody>
      <dsp:txXfrm>
        <a:off x="24502" y="3739462"/>
        <a:ext cx="7342396" cy="452926"/>
      </dsp:txXfrm>
    </dsp:sp>
    <dsp:sp modelId="{CCA6F0ED-3278-4D29-A6CB-0E77A06CA344}">
      <dsp:nvSpPr>
        <dsp:cNvPr id="0" name=""/>
        <dsp:cNvSpPr/>
      </dsp:nvSpPr>
      <dsp:spPr>
        <a:xfrm>
          <a:off x="0" y="4280250"/>
          <a:ext cx="7391400" cy="501930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Get the job you want; choose the career path that’s right for you</a:t>
          </a:r>
        </a:p>
      </dsp:txBody>
      <dsp:txXfrm>
        <a:off x="24502" y="4304752"/>
        <a:ext cx="7342396" cy="452926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766382-223A-4CAB-AACE-279431EC1F00}">
      <dsp:nvSpPr>
        <dsp:cNvPr id="0" name=""/>
        <dsp:cNvSpPr/>
      </dsp:nvSpPr>
      <dsp:spPr>
        <a:xfrm>
          <a:off x="152407" y="457195"/>
          <a:ext cx="6745290" cy="213360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8100" dist="300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9540" tIns="64770" rIns="129540" bIns="64770" numCol="1" spcCol="1270" anchor="ctr" anchorCtr="0">
          <a:noAutofit/>
        </a:bodyPr>
        <a:lstStyle/>
        <a:p>
          <a:pPr marL="0" lvl="0" indent="0" algn="ctr" defTabSz="1511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b="0" kern="1200" dirty="0"/>
            <a:t>Meets all requirements set forth by the American Board of Pediatrics and American Board of Emergency Medicine</a:t>
          </a:r>
        </a:p>
      </dsp:txBody>
      <dsp:txXfrm>
        <a:off x="256561" y="561349"/>
        <a:ext cx="6536982" cy="1925298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3D111A-521A-4573-969B-C08B09B2B8F8}">
      <dsp:nvSpPr>
        <dsp:cNvPr id="0" name=""/>
        <dsp:cNvSpPr/>
      </dsp:nvSpPr>
      <dsp:spPr>
        <a:xfrm>
          <a:off x="0" y="19577"/>
          <a:ext cx="72390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8.25 months PEM* </a:t>
          </a:r>
        </a:p>
      </dsp:txBody>
      <dsp:txXfrm>
        <a:off x="28174" y="47751"/>
        <a:ext cx="7182652" cy="520791"/>
      </dsp:txXfrm>
    </dsp:sp>
    <dsp:sp modelId="{2DEFFDAF-D655-42E8-A428-6A63D6FE20AA}">
      <dsp:nvSpPr>
        <dsp:cNvPr id="0" name=""/>
        <dsp:cNvSpPr/>
      </dsp:nvSpPr>
      <dsp:spPr>
        <a:xfrm>
          <a:off x="0" y="660076"/>
          <a:ext cx="72390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2 weeks pediatric anesthesia </a:t>
          </a:r>
        </a:p>
      </dsp:txBody>
      <dsp:txXfrm>
        <a:off x="28174" y="688250"/>
        <a:ext cx="7182652" cy="520791"/>
      </dsp:txXfrm>
    </dsp:sp>
    <dsp:sp modelId="{4C8D3A4A-FAE5-46AE-95A5-92BB2AC42507}">
      <dsp:nvSpPr>
        <dsp:cNvPr id="0" name=""/>
        <dsp:cNvSpPr/>
      </dsp:nvSpPr>
      <dsp:spPr>
        <a:xfrm>
          <a:off x="0" y="1300575"/>
          <a:ext cx="72390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week pediatric sedation</a:t>
          </a:r>
        </a:p>
      </dsp:txBody>
      <dsp:txXfrm>
        <a:off x="28174" y="1328749"/>
        <a:ext cx="7182652" cy="520791"/>
      </dsp:txXfrm>
    </dsp:sp>
    <dsp:sp modelId="{4699C62B-7E86-4795-AB63-C33BA5D80B8F}">
      <dsp:nvSpPr>
        <dsp:cNvPr id="0" name=""/>
        <dsp:cNvSpPr/>
      </dsp:nvSpPr>
      <dsp:spPr>
        <a:xfrm>
          <a:off x="0" y="1941074"/>
          <a:ext cx="72390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PICU (Main and West Campus)</a:t>
          </a:r>
        </a:p>
      </dsp:txBody>
      <dsp:txXfrm>
        <a:off x="28174" y="1969248"/>
        <a:ext cx="7182652" cy="520791"/>
      </dsp:txXfrm>
    </dsp:sp>
    <dsp:sp modelId="{DA86E64D-8E16-4851-9AE5-48CC2F408BCE}">
      <dsp:nvSpPr>
        <dsp:cNvPr id="0" name=""/>
        <dsp:cNvSpPr/>
      </dsp:nvSpPr>
      <dsp:spPr>
        <a:xfrm>
          <a:off x="0" y="2581573"/>
          <a:ext cx="72390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adult emergency medicine- Memorial Hermann </a:t>
          </a:r>
        </a:p>
      </dsp:txBody>
      <dsp:txXfrm>
        <a:off x="28174" y="2609747"/>
        <a:ext cx="7182652" cy="520791"/>
      </dsp:txXfrm>
    </dsp:sp>
    <dsp:sp modelId="{E5A15FA5-1FDE-42E7-A97E-D1DF43F10D3D}">
      <dsp:nvSpPr>
        <dsp:cNvPr id="0" name=""/>
        <dsp:cNvSpPr/>
      </dsp:nvSpPr>
      <dsp:spPr>
        <a:xfrm>
          <a:off x="0" y="3222072"/>
          <a:ext cx="72390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ultrasound</a:t>
          </a:r>
        </a:p>
      </dsp:txBody>
      <dsp:txXfrm>
        <a:off x="28174" y="3250246"/>
        <a:ext cx="7182652" cy="520791"/>
      </dsp:txXfrm>
    </dsp:sp>
    <dsp:sp modelId="{8C126F77-E58A-49C9-884D-FBDF88DCFB5A}">
      <dsp:nvSpPr>
        <dsp:cNvPr id="0" name=""/>
        <dsp:cNvSpPr/>
      </dsp:nvSpPr>
      <dsp:spPr>
        <a:xfrm>
          <a:off x="0" y="3862571"/>
          <a:ext cx="72390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*</a:t>
          </a:r>
          <a:r>
            <a:rPr lang="en-US" sz="1600" b="0" kern="1200" dirty="0"/>
            <a:t>Total ED Time at Texas Children’s Hospital Main and West Campus = 950 Hours (</a:t>
          </a:r>
          <a:r>
            <a:rPr lang="en-US" sz="1600" b="0" kern="1200" dirty="0" err="1"/>
            <a:t>approx</a:t>
          </a:r>
          <a:r>
            <a:rPr lang="en-US" sz="1600" b="0" kern="1200" dirty="0"/>
            <a:t> 32 clinical </a:t>
          </a:r>
          <a:r>
            <a:rPr lang="en-US" sz="1600" b="0" kern="1200" dirty="0" err="1"/>
            <a:t>hrs</a:t>
          </a:r>
          <a:r>
            <a:rPr lang="en-US" sz="1600" b="0" kern="1200" dirty="0"/>
            <a:t>/week on PEM rotations)</a:t>
          </a:r>
        </a:p>
      </dsp:txBody>
      <dsp:txXfrm>
        <a:off x="28174" y="3890745"/>
        <a:ext cx="7182652" cy="520791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AB82A0-FA24-4F83-B272-F89C940423BA}">
      <dsp:nvSpPr>
        <dsp:cNvPr id="0" name=""/>
        <dsp:cNvSpPr/>
      </dsp:nvSpPr>
      <dsp:spPr>
        <a:xfrm>
          <a:off x="0" y="22383"/>
          <a:ext cx="73152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7.75 months PEM* </a:t>
          </a:r>
        </a:p>
      </dsp:txBody>
      <dsp:txXfrm>
        <a:off x="28174" y="50557"/>
        <a:ext cx="7258852" cy="520791"/>
      </dsp:txXfrm>
    </dsp:sp>
    <dsp:sp modelId="{0177620C-5CDF-4D61-8A38-C7BEDE7FE8AD}">
      <dsp:nvSpPr>
        <dsp:cNvPr id="0" name=""/>
        <dsp:cNvSpPr/>
      </dsp:nvSpPr>
      <dsp:spPr>
        <a:xfrm>
          <a:off x="0" y="662882"/>
          <a:ext cx="73152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2 weeks pediatric anesthesia</a:t>
          </a:r>
        </a:p>
      </dsp:txBody>
      <dsp:txXfrm>
        <a:off x="28174" y="691056"/>
        <a:ext cx="7258852" cy="520791"/>
      </dsp:txXfrm>
    </dsp:sp>
    <dsp:sp modelId="{F757D63A-CDBE-4031-884C-58F9DB791CEC}">
      <dsp:nvSpPr>
        <dsp:cNvPr id="0" name=""/>
        <dsp:cNvSpPr/>
      </dsp:nvSpPr>
      <dsp:spPr>
        <a:xfrm>
          <a:off x="0" y="1303381"/>
          <a:ext cx="73152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week pediatric sedation</a:t>
          </a:r>
        </a:p>
      </dsp:txBody>
      <dsp:txXfrm>
        <a:off x="28174" y="1331555"/>
        <a:ext cx="7258852" cy="520791"/>
      </dsp:txXfrm>
    </dsp:sp>
    <dsp:sp modelId="{09078B73-1435-4DC7-88DF-C7B9CCBACD9D}">
      <dsp:nvSpPr>
        <dsp:cNvPr id="0" name=""/>
        <dsp:cNvSpPr/>
      </dsp:nvSpPr>
      <dsp:spPr>
        <a:xfrm>
          <a:off x="0" y="1943880"/>
          <a:ext cx="73152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2 weeks child development (with child life)</a:t>
          </a:r>
        </a:p>
      </dsp:txBody>
      <dsp:txXfrm>
        <a:off x="28174" y="1972054"/>
        <a:ext cx="7258852" cy="520791"/>
      </dsp:txXfrm>
    </dsp:sp>
    <dsp:sp modelId="{E9B2F888-D4E9-4D93-9203-A26D3AF6AE90}">
      <dsp:nvSpPr>
        <dsp:cNvPr id="0" name=""/>
        <dsp:cNvSpPr/>
      </dsp:nvSpPr>
      <dsp:spPr>
        <a:xfrm>
          <a:off x="0" y="2584379"/>
          <a:ext cx="73152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PICU (Main or West Campus)</a:t>
          </a:r>
        </a:p>
      </dsp:txBody>
      <dsp:txXfrm>
        <a:off x="28174" y="2612553"/>
        <a:ext cx="7258852" cy="520791"/>
      </dsp:txXfrm>
    </dsp:sp>
    <dsp:sp modelId="{B1BDBA8E-053D-4EA0-9E49-74B3487B239A}">
      <dsp:nvSpPr>
        <dsp:cNvPr id="0" name=""/>
        <dsp:cNvSpPr/>
      </dsp:nvSpPr>
      <dsp:spPr>
        <a:xfrm>
          <a:off x="0" y="3224879"/>
          <a:ext cx="73152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NICU</a:t>
          </a:r>
        </a:p>
      </dsp:txBody>
      <dsp:txXfrm>
        <a:off x="28174" y="3253053"/>
        <a:ext cx="7258852" cy="520791"/>
      </dsp:txXfrm>
    </dsp:sp>
    <dsp:sp modelId="{4FE03ADF-B8DD-409F-ADE8-0B17B2F93C8C}">
      <dsp:nvSpPr>
        <dsp:cNvPr id="0" name=""/>
        <dsp:cNvSpPr/>
      </dsp:nvSpPr>
      <dsp:spPr>
        <a:xfrm>
          <a:off x="0" y="3865378"/>
          <a:ext cx="73152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pediatric cardiology</a:t>
          </a:r>
        </a:p>
      </dsp:txBody>
      <dsp:txXfrm>
        <a:off x="28174" y="3893552"/>
        <a:ext cx="7258852" cy="520791"/>
      </dsp:txXfrm>
    </dsp:sp>
    <dsp:sp modelId="{6282A645-83E8-4264-A1A0-14F861428ECD}">
      <dsp:nvSpPr>
        <dsp:cNvPr id="0" name=""/>
        <dsp:cNvSpPr/>
      </dsp:nvSpPr>
      <dsp:spPr>
        <a:xfrm>
          <a:off x="0" y="4505877"/>
          <a:ext cx="7315200" cy="57713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*</a:t>
          </a:r>
          <a:r>
            <a:rPr lang="en-US" sz="1600" b="0" kern="1200" dirty="0"/>
            <a:t>Total ED Time at Texas Children’s Hospital Main and West Campus= 950 Hours (</a:t>
          </a:r>
          <a:r>
            <a:rPr lang="en-US" sz="1600" b="0" kern="1200" dirty="0" err="1"/>
            <a:t>approx</a:t>
          </a:r>
          <a:r>
            <a:rPr lang="en-US" sz="1600" b="0" kern="1200" dirty="0"/>
            <a:t> 32 clinical </a:t>
          </a:r>
          <a:r>
            <a:rPr lang="en-US" sz="1600" b="0" kern="1200" dirty="0" err="1"/>
            <a:t>hrs</a:t>
          </a:r>
          <a:r>
            <a:rPr lang="en-US" sz="1600" b="0" kern="1200" dirty="0"/>
            <a:t>/week on PEM rotations)</a:t>
          </a:r>
        </a:p>
      </dsp:txBody>
      <dsp:txXfrm>
        <a:off x="28174" y="4534051"/>
        <a:ext cx="7258852" cy="520791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067C6A-7A3C-4C8A-929A-6B7A85727A7A}">
      <dsp:nvSpPr>
        <dsp:cNvPr id="0" name=""/>
        <dsp:cNvSpPr/>
      </dsp:nvSpPr>
      <dsp:spPr>
        <a:xfrm>
          <a:off x="0" y="37303"/>
          <a:ext cx="73152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9 months PEM*</a:t>
          </a:r>
        </a:p>
      </dsp:txBody>
      <dsp:txXfrm>
        <a:off x="31070" y="68373"/>
        <a:ext cx="7253060" cy="574340"/>
      </dsp:txXfrm>
    </dsp:sp>
    <dsp:sp modelId="{2EA1479B-EF16-4BD9-8374-9B3AC65F70B3}">
      <dsp:nvSpPr>
        <dsp:cNvPr id="0" name=""/>
        <dsp:cNvSpPr/>
      </dsp:nvSpPr>
      <dsp:spPr>
        <a:xfrm>
          <a:off x="0" y="771703"/>
          <a:ext cx="73152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2 weeks orthopedics</a:t>
          </a:r>
        </a:p>
      </dsp:txBody>
      <dsp:txXfrm>
        <a:off x="31070" y="802773"/>
        <a:ext cx="7253060" cy="574340"/>
      </dsp:txXfrm>
    </dsp:sp>
    <dsp:sp modelId="{2FA8DC1D-7661-4D27-A4DB-ADC3C2C62047}">
      <dsp:nvSpPr>
        <dsp:cNvPr id="0" name=""/>
        <dsp:cNvSpPr/>
      </dsp:nvSpPr>
      <dsp:spPr>
        <a:xfrm>
          <a:off x="0" y="1506103"/>
          <a:ext cx="73152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2 weeks toxicology</a:t>
          </a:r>
        </a:p>
      </dsp:txBody>
      <dsp:txXfrm>
        <a:off x="31070" y="1537173"/>
        <a:ext cx="7253060" cy="574340"/>
      </dsp:txXfrm>
    </dsp:sp>
    <dsp:sp modelId="{49A4D619-D0B2-4420-A40E-3ADCE7CA5512}">
      <dsp:nvSpPr>
        <dsp:cNvPr id="0" name=""/>
        <dsp:cNvSpPr/>
      </dsp:nvSpPr>
      <dsp:spPr>
        <a:xfrm>
          <a:off x="0" y="2240504"/>
          <a:ext cx="73152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2 weeks child protection</a:t>
          </a:r>
        </a:p>
      </dsp:txBody>
      <dsp:txXfrm>
        <a:off x="31070" y="2271574"/>
        <a:ext cx="7253060" cy="574340"/>
      </dsp:txXfrm>
    </dsp:sp>
    <dsp:sp modelId="{353EB74B-AA9D-4EBB-B37F-6610D0014316}">
      <dsp:nvSpPr>
        <dsp:cNvPr id="0" name=""/>
        <dsp:cNvSpPr/>
      </dsp:nvSpPr>
      <dsp:spPr>
        <a:xfrm>
          <a:off x="0" y="2974903"/>
          <a:ext cx="73152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1 month trauma– </a:t>
          </a:r>
          <a:r>
            <a:rPr lang="en-US" sz="2400" b="0" kern="1200" dirty="0"/>
            <a:t>Memorial Hermann</a:t>
          </a:r>
        </a:p>
      </dsp:txBody>
      <dsp:txXfrm>
        <a:off x="31070" y="3005973"/>
        <a:ext cx="7253060" cy="574340"/>
      </dsp:txXfrm>
    </dsp:sp>
    <dsp:sp modelId="{55F50977-8AFC-4637-ACD3-D821F3C19860}">
      <dsp:nvSpPr>
        <dsp:cNvPr id="0" name=""/>
        <dsp:cNvSpPr/>
      </dsp:nvSpPr>
      <dsp:spPr>
        <a:xfrm>
          <a:off x="0" y="3709304"/>
          <a:ext cx="73152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*</a:t>
          </a:r>
          <a:r>
            <a:rPr lang="en-US" sz="1600" b="0" kern="1200" dirty="0"/>
            <a:t>Total ED Time at Texas Children’s Hospital Main and West Campus= 1150-1200 Hours (</a:t>
          </a:r>
          <a:r>
            <a:rPr lang="en-US" sz="1600" b="0" kern="1200" dirty="0" err="1"/>
            <a:t>approx</a:t>
          </a:r>
          <a:r>
            <a:rPr lang="en-US" sz="1600" b="0" kern="1200" dirty="0"/>
            <a:t> 32 clinical </a:t>
          </a:r>
          <a:r>
            <a:rPr lang="en-US" sz="1600" b="0" kern="1200" dirty="0" err="1"/>
            <a:t>hrs</a:t>
          </a:r>
          <a:r>
            <a:rPr lang="en-US" sz="1600" b="0" kern="1200" dirty="0"/>
            <a:t>/week on PEM rotations) </a:t>
          </a:r>
        </a:p>
      </dsp:txBody>
      <dsp:txXfrm>
        <a:off x="31070" y="3740374"/>
        <a:ext cx="7253060" cy="574340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3A1FE4-516E-460E-86E2-810DDEF99D88}">
      <dsp:nvSpPr>
        <dsp:cNvPr id="0" name=""/>
        <dsp:cNvSpPr/>
      </dsp:nvSpPr>
      <dsp:spPr>
        <a:xfrm>
          <a:off x="0" y="0"/>
          <a:ext cx="7391400" cy="804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9.5 months PEM*</a:t>
          </a:r>
        </a:p>
      </dsp:txBody>
      <dsp:txXfrm>
        <a:off x="39295" y="39295"/>
        <a:ext cx="7312810" cy="726370"/>
      </dsp:txXfrm>
    </dsp:sp>
    <dsp:sp modelId="{2E3801A4-1167-4430-8FFF-869C02FD35FD}">
      <dsp:nvSpPr>
        <dsp:cNvPr id="0" name=""/>
        <dsp:cNvSpPr/>
      </dsp:nvSpPr>
      <dsp:spPr>
        <a:xfrm>
          <a:off x="0" y="936464"/>
          <a:ext cx="7391400" cy="804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pediatric infectious disease or neurology</a:t>
          </a:r>
        </a:p>
      </dsp:txBody>
      <dsp:txXfrm>
        <a:off x="39295" y="975759"/>
        <a:ext cx="7312810" cy="726370"/>
      </dsp:txXfrm>
    </dsp:sp>
    <dsp:sp modelId="{74CEB337-6AB2-43B9-935B-3B831A77391A}">
      <dsp:nvSpPr>
        <dsp:cNvPr id="0" name=""/>
        <dsp:cNvSpPr/>
      </dsp:nvSpPr>
      <dsp:spPr>
        <a:xfrm>
          <a:off x="0" y="1865264"/>
          <a:ext cx="7391400" cy="804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elective</a:t>
          </a:r>
        </a:p>
      </dsp:txBody>
      <dsp:txXfrm>
        <a:off x="39295" y="1904559"/>
        <a:ext cx="7312810" cy="726370"/>
      </dsp:txXfrm>
    </dsp:sp>
    <dsp:sp modelId="{4E65EFF9-7318-498E-909A-DA15AD9BCE1D}">
      <dsp:nvSpPr>
        <dsp:cNvPr id="0" name=""/>
        <dsp:cNvSpPr/>
      </dsp:nvSpPr>
      <dsp:spPr>
        <a:xfrm>
          <a:off x="0" y="2794064"/>
          <a:ext cx="7391400" cy="804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/>
            <a:t>2 weeks child protection</a:t>
          </a:r>
        </a:p>
      </dsp:txBody>
      <dsp:txXfrm>
        <a:off x="39295" y="2833359"/>
        <a:ext cx="7312810" cy="726370"/>
      </dsp:txXfrm>
    </dsp:sp>
    <dsp:sp modelId="{C770FA34-67FB-4805-8849-275EB89ACECC}">
      <dsp:nvSpPr>
        <dsp:cNvPr id="0" name=""/>
        <dsp:cNvSpPr/>
      </dsp:nvSpPr>
      <dsp:spPr>
        <a:xfrm>
          <a:off x="0" y="3722864"/>
          <a:ext cx="7391400" cy="804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*</a:t>
          </a:r>
          <a:r>
            <a:rPr lang="en-US" sz="1800" b="0" kern="1200" dirty="0"/>
            <a:t>Total ED Time at Texas Children’s Hospital Main and West Campus= 1150 Hours (</a:t>
          </a:r>
          <a:r>
            <a:rPr lang="en-US" sz="1800" b="0" kern="1200" dirty="0" err="1"/>
            <a:t>approx</a:t>
          </a:r>
          <a:r>
            <a:rPr lang="en-US" sz="1800" b="0" kern="1200" dirty="0"/>
            <a:t> 32 clinical </a:t>
          </a:r>
          <a:r>
            <a:rPr lang="en-US" sz="1800" b="0" kern="1200" dirty="0" err="1"/>
            <a:t>hrs</a:t>
          </a:r>
          <a:r>
            <a:rPr lang="en-US" sz="1800" b="0" kern="1200" dirty="0"/>
            <a:t>/week on PEM rotations</a:t>
          </a:r>
          <a:r>
            <a:rPr lang="en-US" sz="1800" b="1" kern="1200" dirty="0"/>
            <a:t>)</a:t>
          </a:r>
        </a:p>
      </dsp:txBody>
      <dsp:txXfrm>
        <a:off x="39295" y="3762159"/>
        <a:ext cx="7312810" cy="72637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906D1E-6B80-48AF-8AD0-F1387B6DD54A}">
      <dsp:nvSpPr>
        <dsp:cNvPr id="0" name=""/>
        <dsp:cNvSpPr/>
      </dsp:nvSpPr>
      <dsp:spPr>
        <a:xfrm>
          <a:off x="0" y="5517"/>
          <a:ext cx="7200900" cy="12168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8100" dist="300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/>
            <a:t>Pediatric Emergency Medicine Fellowship Program</a:t>
          </a:r>
          <a:endParaRPr lang="en-US" sz="2800" kern="1200" dirty="0"/>
        </a:p>
      </dsp:txBody>
      <dsp:txXfrm>
        <a:off x="59399" y="64916"/>
        <a:ext cx="7082102" cy="1098002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0C2635-AFA6-477D-A6E8-7CD779203DE1}">
      <dsp:nvSpPr>
        <dsp:cNvPr id="0" name=""/>
        <dsp:cNvSpPr/>
      </dsp:nvSpPr>
      <dsp:spPr>
        <a:xfrm>
          <a:off x="0" y="5399"/>
          <a:ext cx="8647176" cy="748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8.25 months Research (Extra hours experience)*</a:t>
          </a:r>
        </a:p>
      </dsp:txBody>
      <dsp:txXfrm>
        <a:off x="36553" y="41952"/>
        <a:ext cx="8574070" cy="675694"/>
      </dsp:txXfrm>
    </dsp:sp>
    <dsp:sp modelId="{7C6724F1-9580-466C-80AE-98A5C42BCC2F}">
      <dsp:nvSpPr>
        <dsp:cNvPr id="0" name=""/>
        <dsp:cNvSpPr/>
      </dsp:nvSpPr>
      <dsp:spPr>
        <a:xfrm>
          <a:off x="0" y="829001"/>
          <a:ext cx="8647176" cy="748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2 weeks anesthesia </a:t>
          </a:r>
        </a:p>
      </dsp:txBody>
      <dsp:txXfrm>
        <a:off x="36553" y="865554"/>
        <a:ext cx="8574070" cy="675694"/>
      </dsp:txXfrm>
    </dsp:sp>
    <dsp:sp modelId="{D556F64A-4602-4807-9AA9-0A8F2B990773}">
      <dsp:nvSpPr>
        <dsp:cNvPr id="0" name=""/>
        <dsp:cNvSpPr/>
      </dsp:nvSpPr>
      <dsp:spPr>
        <a:xfrm>
          <a:off x="0" y="1665801"/>
          <a:ext cx="8647176" cy="748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elective</a:t>
          </a:r>
        </a:p>
      </dsp:txBody>
      <dsp:txXfrm>
        <a:off x="36553" y="1702354"/>
        <a:ext cx="8574070" cy="675694"/>
      </dsp:txXfrm>
    </dsp:sp>
    <dsp:sp modelId="{9416462E-BD3D-4A26-98AF-96936FAB78D7}">
      <dsp:nvSpPr>
        <dsp:cNvPr id="0" name=""/>
        <dsp:cNvSpPr/>
      </dsp:nvSpPr>
      <dsp:spPr>
        <a:xfrm>
          <a:off x="0" y="2502600"/>
          <a:ext cx="8647176" cy="748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EMS</a:t>
          </a:r>
        </a:p>
      </dsp:txBody>
      <dsp:txXfrm>
        <a:off x="36553" y="2539153"/>
        <a:ext cx="8574070" cy="675694"/>
      </dsp:txXfrm>
    </dsp:sp>
    <dsp:sp modelId="{E9EB1B1D-D84F-43D2-A820-0F1D198F4FDE}">
      <dsp:nvSpPr>
        <dsp:cNvPr id="0" name=""/>
        <dsp:cNvSpPr/>
      </dsp:nvSpPr>
      <dsp:spPr>
        <a:xfrm>
          <a:off x="0" y="3341257"/>
          <a:ext cx="8647176" cy="748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month adult emergency medicine- </a:t>
          </a:r>
          <a:r>
            <a:rPr lang="en-US" sz="2000" b="0" kern="1200" dirty="0"/>
            <a:t>Ben Taub General Hospital or Memorial Hermann </a:t>
          </a:r>
        </a:p>
      </dsp:txBody>
      <dsp:txXfrm>
        <a:off x="36553" y="3377810"/>
        <a:ext cx="8574070" cy="675694"/>
      </dsp:txXfrm>
    </dsp:sp>
    <dsp:sp modelId="{6847EBE8-2D93-4149-A7A3-FD268A36D451}">
      <dsp:nvSpPr>
        <dsp:cNvPr id="0" name=""/>
        <dsp:cNvSpPr/>
      </dsp:nvSpPr>
      <dsp:spPr>
        <a:xfrm>
          <a:off x="0" y="4185474"/>
          <a:ext cx="8647176" cy="748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1 week radiology</a:t>
          </a:r>
        </a:p>
      </dsp:txBody>
      <dsp:txXfrm>
        <a:off x="36553" y="4222027"/>
        <a:ext cx="8574070" cy="675694"/>
      </dsp:txXfrm>
    </dsp:sp>
    <dsp:sp modelId="{153FA5F4-B9F3-41FC-84FB-8BEF21C4686E}">
      <dsp:nvSpPr>
        <dsp:cNvPr id="0" name=""/>
        <dsp:cNvSpPr/>
      </dsp:nvSpPr>
      <dsp:spPr>
        <a:xfrm>
          <a:off x="0" y="4872016"/>
          <a:ext cx="8647176" cy="748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/>
            <a:t>Finish in July whatever required clinical hours not completed in years 1 and 2; otherwise no required ED shifts;</a:t>
          </a:r>
        </a:p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/>
            <a:t>Extra hours experience available to maintain clinical skills (approximately 60 clinical hours/month)</a:t>
          </a:r>
          <a:endParaRPr lang="en-US" sz="1200" b="1" kern="1200" dirty="0"/>
        </a:p>
      </dsp:txBody>
      <dsp:txXfrm>
        <a:off x="36553" y="4908569"/>
        <a:ext cx="8574070" cy="675694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679E00-17B4-4A29-94AC-2AEEC2D78AA8}">
      <dsp:nvSpPr>
        <dsp:cNvPr id="0" name=""/>
        <dsp:cNvSpPr/>
      </dsp:nvSpPr>
      <dsp:spPr>
        <a:xfrm>
          <a:off x="0" y="24741"/>
          <a:ext cx="8763000" cy="87048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Clinical opportunity offered only to fellows in their 3rd year of training </a:t>
          </a:r>
          <a:endParaRPr lang="en-US" sz="2400" kern="1200" dirty="0"/>
        </a:p>
      </dsp:txBody>
      <dsp:txXfrm>
        <a:off x="42493" y="67234"/>
        <a:ext cx="8678014" cy="785494"/>
      </dsp:txXfrm>
    </dsp:sp>
    <dsp:sp modelId="{62D93A24-7172-4909-A7E6-ADF9D954BDA0}">
      <dsp:nvSpPr>
        <dsp:cNvPr id="0" name=""/>
        <dsp:cNvSpPr/>
      </dsp:nvSpPr>
      <dsp:spPr>
        <a:xfrm>
          <a:off x="0" y="964341"/>
          <a:ext cx="8763000" cy="87048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Successful completion of all PEM ED clinical requirements</a:t>
          </a:r>
          <a:endParaRPr lang="en-US" sz="2400" kern="1200" dirty="0"/>
        </a:p>
      </dsp:txBody>
      <dsp:txXfrm>
        <a:off x="42493" y="1006834"/>
        <a:ext cx="8678014" cy="785494"/>
      </dsp:txXfrm>
    </dsp:sp>
    <dsp:sp modelId="{893D8121-5931-42AD-9E5F-68A78FBF37BA}">
      <dsp:nvSpPr>
        <dsp:cNvPr id="0" name=""/>
        <dsp:cNvSpPr/>
      </dsp:nvSpPr>
      <dsp:spPr>
        <a:xfrm>
          <a:off x="0" y="1903941"/>
          <a:ext cx="8763000" cy="87048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Opt to take this opportunity to maintain clinical skills during a primarily research year of their fellowship</a:t>
          </a:r>
          <a:endParaRPr lang="en-US" sz="2400" kern="1200" dirty="0"/>
        </a:p>
      </dsp:txBody>
      <dsp:txXfrm>
        <a:off x="42493" y="1946434"/>
        <a:ext cx="8678014" cy="785494"/>
      </dsp:txXfrm>
    </dsp:sp>
    <dsp:sp modelId="{C52A40A1-71E5-499A-B238-9D14770E4430}">
      <dsp:nvSpPr>
        <dsp:cNvPr id="0" name=""/>
        <dsp:cNvSpPr/>
      </dsp:nvSpPr>
      <dsp:spPr>
        <a:xfrm>
          <a:off x="0" y="2843541"/>
          <a:ext cx="8763000" cy="87048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Placed as second attending in TCH North/South and West Campus </a:t>
          </a:r>
          <a:endParaRPr lang="en-US" sz="2400" kern="1200" dirty="0"/>
        </a:p>
      </dsp:txBody>
      <dsp:txXfrm>
        <a:off x="42493" y="2886034"/>
        <a:ext cx="8678014" cy="785494"/>
      </dsp:txXfrm>
    </dsp:sp>
    <dsp:sp modelId="{910EC986-5861-4D0F-9009-6697E6649382}">
      <dsp:nvSpPr>
        <dsp:cNvPr id="0" name=""/>
        <dsp:cNvSpPr/>
      </dsp:nvSpPr>
      <dsp:spPr>
        <a:xfrm>
          <a:off x="0" y="3783141"/>
          <a:ext cx="8763000" cy="8704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Moonlighting rates apply</a:t>
          </a:r>
          <a:endParaRPr lang="en-US" sz="2400" kern="1200" dirty="0"/>
        </a:p>
      </dsp:txBody>
      <dsp:txXfrm>
        <a:off x="42493" y="3825634"/>
        <a:ext cx="8678014" cy="785494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A06E7A-E6E9-46EF-8343-7B0F32EE8448}">
      <dsp:nvSpPr>
        <dsp:cNvPr id="0" name=""/>
        <dsp:cNvSpPr/>
      </dsp:nvSpPr>
      <dsp:spPr>
        <a:xfrm>
          <a:off x="1645691" y="89807"/>
          <a:ext cx="4530015" cy="1718964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8100" dist="300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Complete 2136 clinical hours in the PEM ED setting in first 2 years of fellowship</a:t>
          </a:r>
        </a:p>
      </dsp:txBody>
      <dsp:txXfrm>
        <a:off x="1729604" y="173720"/>
        <a:ext cx="4362189" cy="1551138"/>
      </dsp:txXfrm>
    </dsp:sp>
    <dsp:sp modelId="{F33FA023-4A47-451D-A76A-9CD329C9DDCC}">
      <dsp:nvSpPr>
        <dsp:cNvPr id="0" name=""/>
        <dsp:cNvSpPr/>
      </dsp:nvSpPr>
      <dsp:spPr>
        <a:xfrm rot="5400000">
          <a:off x="5115806" y="-64008"/>
          <a:ext cx="1375171" cy="5462016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Weekdays: 6a-2p, 2p-10p, 6p-2a, 10p-6a</a:t>
          </a:r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Tues medical student teaching shifts: 1p-6p</a:t>
          </a:r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Weekends and holidays: 6a-4p, 4p-2a, 8p-6a</a:t>
          </a:r>
        </a:p>
      </dsp:txBody>
      <dsp:txXfrm rot="-5400000">
        <a:off x="3072384" y="2046544"/>
        <a:ext cx="5394886" cy="1240911"/>
      </dsp:txXfrm>
    </dsp:sp>
    <dsp:sp modelId="{AC9FB8E2-87AD-4399-9BDC-CC1E759D35D1}">
      <dsp:nvSpPr>
        <dsp:cNvPr id="0" name=""/>
        <dsp:cNvSpPr/>
      </dsp:nvSpPr>
      <dsp:spPr>
        <a:xfrm>
          <a:off x="0" y="1807517"/>
          <a:ext cx="3072384" cy="1718964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8100" dist="300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TCH </a:t>
          </a:r>
        </a:p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Main EC</a:t>
          </a:r>
        </a:p>
      </dsp:txBody>
      <dsp:txXfrm>
        <a:off x="83913" y="1891430"/>
        <a:ext cx="2904558" cy="1551138"/>
      </dsp:txXfrm>
    </dsp:sp>
    <dsp:sp modelId="{5F43C4C6-3F9D-4267-87A8-50A24E11557F}">
      <dsp:nvSpPr>
        <dsp:cNvPr id="0" name=""/>
        <dsp:cNvSpPr/>
      </dsp:nvSpPr>
      <dsp:spPr>
        <a:xfrm rot="5400000">
          <a:off x="5115806" y="1740905"/>
          <a:ext cx="1375171" cy="5462016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Weekdays: 3pm-11pm</a:t>
          </a:r>
        </a:p>
        <a:p>
          <a:pPr marL="228600" lvl="1" indent="-228600" algn="l" defTabSz="9334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Weekends and holidays: 3pm-1am</a:t>
          </a:r>
        </a:p>
      </dsp:txBody>
      <dsp:txXfrm rot="-5400000">
        <a:off x="3072384" y="3851457"/>
        <a:ext cx="5394886" cy="1240911"/>
      </dsp:txXfrm>
    </dsp:sp>
    <dsp:sp modelId="{129F235D-737F-434D-9605-9FF0296B40D4}">
      <dsp:nvSpPr>
        <dsp:cNvPr id="0" name=""/>
        <dsp:cNvSpPr/>
      </dsp:nvSpPr>
      <dsp:spPr>
        <a:xfrm>
          <a:off x="0" y="3612430"/>
          <a:ext cx="3072384" cy="1718964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8100" dist="300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TCH </a:t>
          </a:r>
        </a:p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West Campus</a:t>
          </a:r>
        </a:p>
      </dsp:txBody>
      <dsp:txXfrm>
        <a:off x="83913" y="3696343"/>
        <a:ext cx="2904558" cy="1551138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03213E-94E8-4ABF-8416-B4C77C832269}">
      <dsp:nvSpPr>
        <dsp:cNvPr id="0" name=""/>
        <dsp:cNvSpPr/>
      </dsp:nvSpPr>
      <dsp:spPr>
        <a:xfrm>
          <a:off x="1523990" y="7"/>
          <a:ext cx="4974308" cy="152251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38100" dist="300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Combined clinical and research time for fellows, based on a 50 hour work week </a:t>
          </a:r>
        </a:p>
      </dsp:txBody>
      <dsp:txXfrm>
        <a:off x="1598313" y="74330"/>
        <a:ext cx="4825662" cy="1373865"/>
      </dsp:txXfrm>
    </dsp:sp>
    <dsp:sp modelId="{8C79CD97-46CF-46A9-B413-D1150F34989E}">
      <dsp:nvSpPr>
        <dsp:cNvPr id="0" name=""/>
        <dsp:cNvSpPr/>
      </dsp:nvSpPr>
      <dsp:spPr>
        <a:xfrm rot="5400000">
          <a:off x="4468963" y="-27432"/>
          <a:ext cx="1218009" cy="4779264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1</a:t>
          </a:r>
          <a:r>
            <a:rPr lang="en-US" sz="1600" kern="1200" baseline="30000" dirty="0"/>
            <a:t>st</a:t>
          </a:r>
          <a:r>
            <a:rPr lang="en-US" sz="1600" kern="1200" dirty="0"/>
            <a:t> year &amp; 2</a:t>
          </a:r>
          <a:r>
            <a:rPr lang="en-US" sz="1600" kern="1200" baseline="30000" dirty="0"/>
            <a:t>nd</a:t>
          </a:r>
          <a:r>
            <a:rPr lang="en-US" sz="1600" kern="1200" dirty="0"/>
            <a:t> year - 65% clinical and 35% research</a:t>
          </a:r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3rd year - 25% clinical and 75% research if they choose to take the Extra Hours Experience; 100% research if approved not to take the Extra Hours Experience.</a:t>
          </a:r>
          <a:endParaRPr lang="en-US" sz="1600" kern="1200" dirty="0"/>
        </a:p>
      </dsp:txBody>
      <dsp:txXfrm rot="-5400000">
        <a:off x="2688336" y="1812653"/>
        <a:ext cx="4719806" cy="1099093"/>
      </dsp:txXfrm>
    </dsp:sp>
    <dsp:sp modelId="{F6A8F14F-9155-4E80-86C3-82CA6E62E797}">
      <dsp:nvSpPr>
        <dsp:cNvPr id="0" name=""/>
        <dsp:cNvSpPr/>
      </dsp:nvSpPr>
      <dsp:spPr>
        <a:xfrm>
          <a:off x="0" y="1600944"/>
          <a:ext cx="2688336" cy="1522511"/>
        </a:xfrm>
        <a:prstGeom prst="roundRect">
          <a:avLst/>
        </a:prstGeom>
        <a:solidFill>
          <a:schemeClr val="accent2">
            <a:hueOff val="-7757680"/>
            <a:satOff val="-14542"/>
            <a:lumOff val="14902"/>
            <a:alphaOff val="0"/>
          </a:schemeClr>
        </a:solidFill>
        <a:ln>
          <a:noFill/>
        </a:ln>
        <a:effectLst>
          <a:outerShdw blurRad="38100" dist="300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Pediatric trained fellows </a:t>
          </a:r>
          <a:endParaRPr lang="en-US" sz="2900" kern="1200" dirty="0"/>
        </a:p>
      </dsp:txBody>
      <dsp:txXfrm>
        <a:off x="74323" y="1675267"/>
        <a:ext cx="2539690" cy="1373865"/>
      </dsp:txXfrm>
    </dsp:sp>
    <dsp:sp modelId="{2755C251-0D30-4A3A-AFD7-F85FA15A07E8}">
      <dsp:nvSpPr>
        <dsp:cNvPr id="0" name=""/>
        <dsp:cNvSpPr/>
      </dsp:nvSpPr>
      <dsp:spPr>
        <a:xfrm rot="5400000">
          <a:off x="4468963" y="1571205"/>
          <a:ext cx="1218009" cy="4779264"/>
        </a:xfrm>
        <a:prstGeom prst="round2SameRect">
          <a:avLst/>
        </a:prstGeom>
        <a:solidFill>
          <a:schemeClr val="accent2">
            <a:tint val="40000"/>
            <a:alpha val="90000"/>
            <a:hueOff val="-15834366"/>
            <a:satOff val="22413"/>
            <a:lumOff val="4827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65% clinical and 35% research both years.  </a:t>
          </a:r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Given the time constraints modifications to the requirement of scholarly activity during fellowship are made based on individual fellows’ needs and interests.</a:t>
          </a:r>
          <a:endParaRPr lang="en-US" sz="1600" kern="1200" dirty="0"/>
        </a:p>
      </dsp:txBody>
      <dsp:txXfrm rot="-5400000">
        <a:off x="2688336" y="3411290"/>
        <a:ext cx="4719806" cy="1099093"/>
      </dsp:txXfrm>
    </dsp:sp>
    <dsp:sp modelId="{3E98F9E9-B7FF-4A28-89B8-1E4AF03D6684}">
      <dsp:nvSpPr>
        <dsp:cNvPr id="0" name=""/>
        <dsp:cNvSpPr/>
      </dsp:nvSpPr>
      <dsp:spPr>
        <a:xfrm>
          <a:off x="0" y="3199581"/>
          <a:ext cx="2688336" cy="1522511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>
          <a:noFill/>
        </a:ln>
        <a:effectLst>
          <a:outerShdw blurRad="38100" dist="300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Emergency medicine    trained fellows</a:t>
          </a:r>
          <a:endParaRPr lang="en-US" sz="2900" kern="1200" dirty="0"/>
        </a:p>
      </dsp:txBody>
      <dsp:txXfrm>
        <a:off x="74323" y="3273904"/>
        <a:ext cx="2539690" cy="1373865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C898F7-7496-4331-B646-DE66EFF44A47}">
      <dsp:nvSpPr>
        <dsp:cNvPr id="0" name=""/>
        <dsp:cNvSpPr/>
      </dsp:nvSpPr>
      <dsp:spPr>
        <a:xfrm>
          <a:off x="0" y="44976"/>
          <a:ext cx="8610600" cy="83421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Fully integrated four year fellowship with 36 months PEM and 12 months GH</a:t>
          </a:r>
        </a:p>
      </dsp:txBody>
      <dsp:txXfrm>
        <a:off x="40723" y="85699"/>
        <a:ext cx="8529154" cy="752764"/>
      </dsp:txXfrm>
    </dsp:sp>
    <dsp:sp modelId="{88F7A4D7-FC0F-49E1-8F47-4EEC947BDB64}">
      <dsp:nvSpPr>
        <dsp:cNvPr id="0" name=""/>
        <dsp:cNvSpPr/>
      </dsp:nvSpPr>
      <dsp:spPr>
        <a:xfrm>
          <a:off x="0" y="945426"/>
          <a:ext cx="8610600" cy="83421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Fellows graduate both programs at the end of 4 years</a:t>
          </a:r>
        </a:p>
      </dsp:txBody>
      <dsp:txXfrm>
        <a:off x="40723" y="986149"/>
        <a:ext cx="8529154" cy="752764"/>
      </dsp:txXfrm>
    </dsp:sp>
    <dsp:sp modelId="{BFE25041-8D1B-46F4-B1BB-45EA3E67EEA7}">
      <dsp:nvSpPr>
        <dsp:cNvPr id="0" name=""/>
        <dsp:cNvSpPr/>
      </dsp:nvSpPr>
      <dsp:spPr>
        <a:xfrm>
          <a:off x="0" y="1845876"/>
          <a:ext cx="8610600" cy="83421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Rotation schedule is modified to include 2-4 months per year of global health time</a:t>
          </a:r>
        </a:p>
      </dsp:txBody>
      <dsp:txXfrm>
        <a:off x="40723" y="1886599"/>
        <a:ext cx="8529154" cy="752764"/>
      </dsp:txXfrm>
    </dsp:sp>
    <dsp:sp modelId="{51B899F9-F6E9-4FF6-A95E-69260175A068}">
      <dsp:nvSpPr>
        <dsp:cNvPr id="0" name=""/>
        <dsp:cNvSpPr/>
      </dsp:nvSpPr>
      <dsp:spPr>
        <a:xfrm>
          <a:off x="0" y="2746326"/>
          <a:ext cx="8610600" cy="83421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Some rotations will be delayed to the following academic year</a:t>
          </a:r>
        </a:p>
      </dsp:txBody>
      <dsp:txXfrm>
        <a:off x="40723" y="2787049"/>
        <a:ext cx="8529154" cy="752764"/>
      </dsp:txXfrm>
    </dsp:sp>
    <dsp:sp modelId="{ADDA902B-C4AF-47B2-BB5A-CAD5E580BBCC}">
      <dsp:nvSpPr>
        <dsp:cNvPr id="0" name=""/>
        <dsp:cNvSpPr/>
      </dsp:nvSpPr>
      <dsp:spPr>
        <a:xfrm>
          <a:off x="0" y="3646776"/>
          <a:ext cx="8610600" cy="83421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Scholarly project focused on global health</a:t>
          </a:r>
        </a:p>
      </dsp:txBody>
      <dsp:txXfrm>
        <a:off x="40723" y="3687499"/>
        <a:ext cx="8529154" cy="752764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8C5114-DAE7-4F5F-A036-79BAC0C9954E}">
      <dsp:nvSpPr>
        <dsp:cNvPr id="0" name=""/>
        <dsp:cNvSpPr/>
      </dsp:nvSpPr>
      <dsp:spPr>
        <a:xfrm>
          <a:off x="0" y="90291"/>
          <a:ext cx="7467600" cy="98865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PEM conference Thursday 9am-1pm</a:t>
          </a:r>
          <a:endParaRPr lang="en-US" sz="2600" kern="1200" dirty="0"/>
        </a:p>
      </dsp:txBody>
      <dsp:txXfrm>
        <a:off x="48262" y="138553"/>
        <a:ext cx="7371076" cy="892126"/>
      </dsp:txXfrm>
    </dsp:sp>
    <dsp:sp modelId="{CB92159A-388C-490C-A26B-9EE157563939}">
      <dsp:nvSpPr>
        <dsp:cNvPr id="0" name=""/>
        <dsp:cNvSpPr/>
      </dsp:nvSpPr>
      <dsp:spPr>
        <a:xfrm>
          <a:off x="0" y="1078941"/>
          <a:ext cx="7467600" cy="4305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7096" tIns="33020" rIns="184912" bIns="33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 dirty="0"/>
            <a:t>Clinical protection Wed overnight and Thurs morning</a:t>
          </a:r>
        </a:p>
      </dsp:txBody>
      <dsp:txXfrm>
        <a:off x="0" y="1078941"/>
        <a:ext cx="7467600" cy="430560"/>
      </dsp:txXfrm>
    </dsp:sp>
    <dsp:sp modelId="{58EEE381-7191-4F82-B296-38EAA4F23F81}">
      <dsp:nvSpPr>
        <dsp:cNvPr id="0" name=""/>
        <dsp:cNvSpPr/>
      </dsp:nvSpPr>
      <dsp:spPr>
        <a:xfrm>
          <a:off x="0" y="1509501"/>
          <a:ext cx="7467600" cy="988650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Conferences which you will present or require your preparation:</a:t>
          </a:r>
          <a:endParaRPr lang="en-US" sz="2600" kern="1200" dirty="0"/>
        </a:p>
      </dsp:txBody>
      <dsp:txXfrm>
        <a:off x="48262" y="1557763"/>
        <a:ext cx="7371076" cy="892126"/>
      </dsp:txXfrm>
    </dsp:sp>
    <dsp:sp modelId="{C990B576-C5F8-4657-8386-4D539798EF21}">
      <dsp:nvSpPr>
        <dsp:cNvPr id="0" name=""/>
        <dsp:cNvSpPr/>
      </dsp:nvSpPr>
      <dsp:spPr>
        <a:xfrm>
          <a:off x="0" y="2498151"/>
          <a:ext cx="7467600" cy="19375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7096" tIns="33020" rIns="184912" bIns="33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Quality and Performance Improvement (M&amp;M)</a:t>
          </a:r>
          <a:endParaRPr lang="en-US" sz="20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Board Review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Fellow lectures</a:t>
          </a:r>
          <a:endParaRPr lang="en-US" sz="20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Fellow’s follow-up rounds</a:t>
          </a:r>
          <a:endParaRPr lang="en-US" sz="20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Radiology Rounds</a:t>
          </a:r>
          <a:endParaRPr lang="en-US" sz="20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National conference presentations</a:t>
          </a:r>
          <a:endParaRPr lang="en-US" sz="2000" kern="1200" dirty="0"/>
        </a:p>
      </dsp:txBody>
      <dsp:txXfrm>
        <a:off x="0" y="2498151"/>
        <a:ext cx="7467600" cy="1937520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208E63-9883-49A8-999F-44153477C96B}">
      <dsp:nvSpPr>
        <dsp:cNvPr id="0" name=""/>
        <dsp:cNvSpPr/>
      </dsp:nvSpPr>
      <dsp:spPr>
        <a:xfrm rot="5400000">
          <a:off x="5191172" y="54067"/>
          <a:ext cx="789574" cy="686929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Times New Roman" panose="02020603050405020304" pitchFamily="18" charset="0"/>
            </a:rPr>
            <a:t>Belize</a:t>
          </a:r>
          <a:endParaRPr lang="en-US" sz="1000" b="1" kern="1200" dirty="0"/>
        </a:p>
      </dsp:txBody>
      <dsp:txXfrm rot="-5400000">
        <a:off x="5349540" y="125787"/>
        <a:ext cx="472837" cy="543490"/>
      </dsp:txXfrm>
    </dsp:sp>
    <dsp:sp modelId="{990409F4-3ED9-4A4F-BE43-E88BB8DF034B}">
      <dsp:nvSpPr>
        <dsp:cNvPr id="0" name=""/>
        <dsp:cNvSpPr/>
      </dsp:nvSpPr>
      <dsp:spPr>
        <a:xfrm>
          <a:off x="5950268" y="160659"/>
          <a:ext cx="881165" cy="473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2FE044-36F6-4B1A-83F3-0A204B27EC5A}">
      <dsp:nvSpPr>
        <dsp:cNvPr id="0" name=""/>
        <dsp:cNvSpPr/>
      </dsp:nvSpPr>
      <dsp:spPr>
        <a:xfrm rot="5400000">
          <a:off x="4449287" y="54067"/>
          <a:ext cx="789574" cy="686929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1034357"/>
            <a:satOff val="-1939"/>
            <a:lumOff val="1987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4607655" y="125787"/>
        <a:ext cx="472837" cy="543490"/>
      </dsp:txXfrm>
    </dsp:sp>
    <dsp:sp modelId="{B2D4B433-D298-44EA-B7C1-54F109177D9D}">
      <dsp:nvSpPr>
        <dsp:cNvPr id="0" name=""/>
        <dsp:cNvSpPr/>
      </dsp:nvSpPr>
      <dsp:spPr>
        <a:xfrm rot="5400000">
          <a:off x="4818808" y="642516"/>
          <a:ext cx="789574" cy="850412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2068715"/>
            <a:satOff val="-3878"/>
            <a:lumOff val="397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latin typeface="Times New Roman" panose="02020603050405020304" pitchFamily="18" charset="0"/>
            </a:rPr>
            <a:t>Colombia</a:t>
          </a:r>
        </a:p>
      </dsp:txBody>
      <dsp:txXfrm rot="-5400000">
        <a:off x="4930124" y="804531"/>
        <a:ext cx="566942" cy="526382"/>
      </dsp:txXfrm>
    </dsp:sp>
    <dsp:sp modelId="{CC41F34A-F437-4731-A44D-A0ADDB9FF299}">
      <dsp:nvSpPr>
        <dsp:cNvPr id="0" name=""/>
        <dsp:cNvSpPr/>
      </dsp:nvSpPr>
      <dsp:spPr>
        <a:xfrm>
          <a:off x="3988965" y="830850"/>
          <a:ext cx="852740" cy="473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CC23A1-A4E2-4029-86D2-BAC213F76DF1}">
      <dsp:nvSpPr>
        <dsp:cNvPr id="0" name=""/>
        <dsp:cNvSpPr/>
      </dsp:nvSpPr>
      <dsp:spPr>
        <a:xfrm rot="5400000">
          <a:off x="5560692" y="724257"/>
          <a:ext cx="789574" cy="686929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3103072"/>
            <a:satOff val="-5817"/>
            <a:lumOff val="596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5719060" y="795977"/>
        <a:ext cx="472837" cy="543490"/>
      </dsp:txXfrm>
    </dsp:sp>
    <dsp:sp modelId="{C5938DD3-E7CA-4820-8FEA-9E006DBA69B2}">
      <dsp:nvSpPr>
        <dsp:cNvPr id="0" name=""/>
        <dsp:cNvSpPr/>
      </dsp:nvSpPr>
      <dsp:spPr>
        <a:xfrm rot="5400000">
          <a:off x="5191172" y="1304072"/>
          <a:ext cx="789574" cy="867681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4137429"/>
            <a:satOff val="-7756"/>
            <a:lumOff val="7948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Times New Roman" panose="02020603050405020304" pitchFamily="18" charset="0"/>
            </a:rPr>
            <a:t>Malawi</a:t>
          </a:r>
        </a:p>
      </dsp:txBody>
      <dsp:txXfrm rot="-5400000">
        <a:off x="5296732" y="1474722"/>
        <a:ext cx="578454" cy="526382"/>
      </dsp:txXfrm>
    </dsp:sp>
    <dsp:sp modelId="{78E68F24-F713-47A9-BE10-184FE30DB7C8}">
      <dsp:nvSpPr>
        <dsp:cNvPr id="0" name=""/>
        <dsp:cNvSpPr/>
      </dsp:nvSpPr>
      <dsp:spPr>
        <a:xfrm>
          <a:off x="5950268" y="1501041"/>
          <a:ext cx="881165" cy="473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6BDFCC-9140-413B-A6AB-6429F0F4A722}">
      <dsp:nvSpPr>
        <dsp:cNvPr id="0" name=""/>
        <dsp:cNvSpPr/>
      </dsp:nvSpPr>
      <dsp:spPr>
        <a:xfrm rot="5400000">
          <a:off x="4449287" y="1394448"/>
          <a:ext cx="789574" cy="686929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5171786"/>
            <a:satOff val="-9695"/>
            <a:lumOff val="993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4607655" y="1466168"/>
        <a:ext cx="472837" cy="543490"/>
      </dsp:txXfrm>
    </dsp:sp>
    <dsp:sp modelId="{EA82ED9E-941D-4887-B086-8723625E62FF}">
      <dsp:nvSpPr>
        <dsp:cNvPr id="0" name=""/>
        <dsp:cNvSpPr/>
      </dsp:nvSpPr>
      <dsp:spPr>
        <a:xfrm rot="5400000">
          <a:off x="4818808" y="1918907"/>
          <a:ext cx="789574" cy="978394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6206144"/>
            <a:satOff val="-11634"/>
            <a:lumOff val="1192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Times New Roman" panose="02020603050405020304" pitchFamily="18" charset="0"/>
            </a:rPr>
            <a:t>Botswana</a:t>
          </a:r>
        </a:p>
      </dsp:txBody>
      <dsp:txXfrm rot="-5400000">
        <a:off x="4887464" y="2144913"/>
        <a:ext cx="652262" cy="526382"/>
      </dsp:txXfrm>
    </dsp:sp>
    <dsp:sp modelId="{28DF919B-B4EA-47D4-B70F-C0FDC5ADF9EA}">
      <dsp:nvSpPr>
        <dsp:cNvPr id="0" name=""/>
        <dsp:cNvSpPr/>
      </dsp:nvSpPr>
      <dsp:spPr>
        <a:xfrm>
          <a:off x="3988965" y="2171232"/>
          <a:ext cx="852740" cy="473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A5F59E-2DC7-41F4-BF84-51FEFEFF3359}">
      <dsp:nvSpPr>
        <dsp:cNvPr id="0" name=""/>
        <dsp:cNvSpPr/>
      </dsp:nvSpPr>
      <dsp:spPr>
        <a:xfrm rot="5400000">
          <a:off x="5560692" y="2064639"/>
          <a:ext cx="789574" cy="686929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7240501"/>
            <a:satOff val="-13573"/>
            <a:lumOff val="1390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5719060" y="2136359"/>
        <a:ext cx="472837" cy="543490"/>
      </dsp:txXfrm>
    </dsp:sp>
    <dsp:sp modelId="{EA0210F3-54B2-4257-879E-A0DAC4A427C1}">
      <dsp:nvSpPr>
        <dsp:cNvPr id="0" name=""/>
        <dsp:cNvSpPr/>
      </dsp:nvSpPr>
      <dsp:spPr>
        <a:xfrm rot="5400000">
          <a:off x="5191172" y="2568253"/>
          <a:ext cx="789574" cy="1020083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8274858"/>
            <a:satOff val="-15511"/>
            <a:lumOff val="1589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 dirty="0"/>
            <a:t>Uganda</a:t>
          </a:r>
        </a:p>
      </dsp:txBody>
      <dsp:txXfrm rot="-5400000">
        <a:off x="5245932" y="2815103"/>
        <a:ext cx="680055" cy="526382"/>
      </dsp:txXfrm>
    </dsp:sp>
    <dsp:sp modelId="{8A4950F4-7C3D-438A-B816-BD3F5905B5ED}">
      <dsp:nvSpPr>
        <dsp:cNvPr id="0" name=""/>
        <dsp:cNvSpPr/>
      </dsp:nvSpPr>
      <dsp:spPr>
        <a:xfrm>
          <a:off x="5950268" y="2841423"/>
          <a:ext cx="881165" cy="473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4D4004-292C-45D0-A759-91EAB0110767}">
      <dsp:nvSpPr>
        <dsp:cNvPr id="0" name=""/>
        <dsp:cNvSpPr/>
      </dsp:nvSpPr>
      <dsp:spPr>
        <a:xfrm rot="5400000">
          <a:off x="4449287" y="2734830"/>
          <a:ext cx="789574" cy="686929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9309216"/>
            <a:satOff val="-17450"/>
            <a:lumOff val="1788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4607655" y="2806550"/>
        <a:ext cx="472837" cy="543490"/>
      </dsp:txXfrm>
    </dsp:sp>
    <dsp:sp modelId="{EB293D36-6CA3-4FA4-9ECE-B321C3B573C2}">
      <dsp:nvSpPr>
        <dsp:cNvPr id="0" name=""/>
        <dsp:cNvSpPr/>
      </dsp:nvSpPr>
      <dsp:spPr>
        <a:xfrm rot="5400000">
          <a:off x="4818808" y="3335490"/>
          <a:ext cx="789574" cy="825991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10343573"/>
            <a:satOff val="-19389"/>
            <a:lumOff val="1986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Puerto Rico</a:t>
          </a:r>
        </a:p>
      </dsp:txBody>
      <dsp:txXfrm rot="-5400000">
        <a:off x="4938265" y="3485294"/>
        <a:ext cx="550661" cy="526382"/>
      </dsp:txXfrm>
    </dsp:sp>
    <dsp:sp modelId="{51A2C38F-9A18-4AB7-9B26-FF63B7FA5236}">
      <dsp:nvSpPr>
        <dsp:cNvPr id="0" name=""/>
        <dsp:cNvSpPr/>
      </dsp:nvSpPr>
      <dsp:spPr>
        <a:xfrm>
          <a:off x="3988965" y="3511613"/>
          <a:ext cx="852740" cy="473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E88100-5B10-400C-8C7B-FC2F666E0CD8}">
      <dsp:nvSpPr>
        <dsp:cNvPr id="0" name=""/>
        <dsp:cNvSpPr/>
      </dsp:nvSpPr>
      <dsp:spPr>
        <a:xfrm rot="5400000">
          <a:off x="5560692" y="3405021"/>
          <a:ext cx="789574" cy="686929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11377930"/>
            <a:satOff val="-21328"/>
            <a:lumOff val="21856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5719060" y="3476741"/>
        <a:ext cx="472837" cy="543490"/>
      </dsp:txXfrm>
    </dsp:sp>
    <dsp:sp modelId="{4F925BDA-57CF-4169-A1CC-7CE846F737B4}">
      <dsp:nvSpPr>
        <dsp:cNvPr id="0" name=""/>
        <dsp:cNvSpPr/>
      </dsp:nvSpPr>
      <dsp:spPr>
        <a:xfrm rot="5400000">
          <a:off x="5191172" y="3908638"/>
          <a:ext cx="789574" cy="1020077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12412288"/>
            <a:satOff val="-23267"/>
            <a:lumOff val="2384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El Salvador</a:t>
          </a:r>
        </a:p>
      </dsp:txBody>
      <dsp:txXfrm rot="-5400000">
        <a:off x="5245934" y="4155485"/>
        <a:ext cx="680051" cy="526382"/>
      </dsp:txXfrm>
    </dsp:sp>
    <dsp:sp modelId="{4093AC92-4D37-417C-9E2E-1AE6ED8B5870}">
      <dsp:nvSpPr>
        <dsp:cNvPr id="0" name=""/>
        <dsp:cNvSpPr/>
      </dsp:nvSpPr>
      <dsp:spPr>
        <a:xfrm>
          <a:off x="5950268" y="4181804"/>
          <a:ext cx="881165" cy="473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25806B-4E7E-4867-94D4-AE7DB02BC03D}">
      <dsp:nvSpPr>
        <dsp:cNvPr id="0" name=""/>
        <dsp:cNvSpPr/>
      </dsp:nvSpPr>
      <dsp:spPr>
        <a:xfrm rot="5400000">
          <a:off x="4449287" y="4075212"/>
          <a:ext cx="789574" cy="686929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13446645"/>
            <a:satOff val="-25206"/>
            <a:lumOff val="2583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4607655" y="4146932"/>
        <a:ext cx="472837" cy="543490"/>
      </dsp:txXfrm>
    </dsp:sp>
    <dsp:sp modelId="{1E88BF92-0D33-460C-AD4B-71504852446E}">
      <dsp:nvSpPr>
        <dsp:cNvPr id="0" name=""/>
        <dsp:cNvSpPr/>
      </dsp:nvSpPr>
      <dsp:spPr>
        <a:xfrm rot="5400000">
          <a:off x="4818808" y="4523473"/>
          <a:ext cx="789574" cy="1130789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14481002"/>
            <a:satOff val="-27145"/>
            <a:lumOff val="27817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Guatemala</a:t>
          </a:r>
        </a:p>
      </dsp:txBody>
      <dsp:txXfrm rot="-5400000">
        <a:off x="4836666" y="4825676"/>
        <a:ext cx="753859" cy="526382"/>
      </dsp:txXfrm>
    </dsp:sp>
    <dsp:sp modelId="{A81AD8B4-AB67-4A88-8FA7-054E46B0DB35}">
      <dsp:nvSpPr>
        <dsp:cNvPr id="0" name=""/>
        <dsp:cNvSpPr/>
      </dsp:nvSpPr>
      <dsp:spPr>
        <a:xfrm>
          <a:off x="3988965" y="4851995"/>
          <a:ext cx="852740" cy="4737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49B7EA-54A4-436F-B9E3-D6A669531CD9}">
      <dsp:nvSpPr>
        <dsp:cNvPr id="0" name=""/>
        <dsp:cNvSpPr/>
      </dsp:nvSpPr>
      <dsp:spPr>
        <a:xfrm rot="5400000">
          <a:off x="5560692" y="4745403"/>
          <a:ext cx="789574" cy="686929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 rot="-5400000">
        <a:off x="5719060" y="4817123"/>
        <a:ext cx="472837" cy="543490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F2A73-05E3-4BC6-A769-54DFD2225263}">
      <dsp:nvSpPr>
        <dsp:cNvPr id="0" name=""/>
        <dsp:cNvSpPr/>
      </dsp:nvSpPr>
      <dsp:spPr>
        <a:xfrm>
          <a:off x="0" y="120271"/>
          <a:ext cx="4241800" cy="88803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One month Ultrasound rotation during first year</a:t>
          </a:r>
        </a:p>
      </dsp:txBody>
      <dsp:txXfrm>
        <a:off x="43350" y="163621"/>
        <a:ext cx="4155100" cy="801330"/>
      </dsp:txXfrm>
    </dsp:sp>
    <dsp:sp modelId="{6B1E5CD7-FA8B-4B90-912C-CDDD5CBEFD25}">
      <dsp:nvSpPr>
        <dsp:cNvPr id="0" name=""/>
        <dsp:cNvSpPr/>
      </dsp:nvSpPr>
      <dsp:spPr>
        <a:xfrm>
          <a:off x="0" y="1008301"/>
          <a:ext cx="4241800" cy="11664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4677" tIns="29210" rIns="163576" bIns="29210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/>
            <a:t>PEM</a:t>
          </a:r>
          <a:endParaRPr lang="en-US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/>
            <a:t>Adult EM</a:t>
          </a:r>
          <a:endParaRPr lang="en-US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/>
            <a:t>Radiology</a:t>
          </a:r>
          <a:endParaRPr lang="en-US" sz="1800" kern="1200" dirty="0"/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/>
            <a:t>Cardiology</a:t>
          </a:r>
          <a:endParaRPr lang="en-US" sz="1800" kern="1200" dirty="0"/>
        </a:p>
      </dsp:txBody>
      <dsp:txXfrm>
        <a:off x="0" y="1008301"/>
        <a:ext cx="4241800" cy="1166445"/>
      </dsp:txXfrm>
    </dsp:sp>
    <dsp:sp modelId="{910B1DAA-B8E0-4F6D-A936-52C87D4D22D6}">
      <dsp:nvSpPr>
        <dsp:cNvPr id="0" name=""/>
        <dsp:cNvSpPr/>
      </dsp:nvSpPr>
      <dsp:spPr>
        <a:xfrm>
          <a:off x="0" y="2174746"/>
          <a:ext cx="4241800" cy="88803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Ultrasound during your core PEM shifts and adult EM shifts</a:t>
          </a:r>
        </a:p>
      </dsp:txBody>
      <dsp:txXfrm>
        <a:off x="43350" y="2218096"/>
        <a:ext cx="4155100" cy="801330"/>
      </dsp:txXfrm>
    </dsp:sp>
    <dsp:sp modelId="{A50A7CC8-05C6-40D1-B7A8-68DA9405A4EA}">
      <dsp:nvSpPr>
        <dsp:cNvPr id="0" name=""/>
        <dsp:cNvSpPr/>
      </dsp:nvSpPr>
      <dsp:spPr>
        <a:xfrm>
          <a:off x="0" y="3129016"/>
          <a:ext cx="4241800" cy="88803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Ultrasound research</a:t>
          </a:r>
          <a:endParaRPr lang="en-US" sz="2300" kern="1200" dirty="0"/>
        </a:p>
      </dsp:txBody>
      <dsp:txXfrm>
        <a:off x="43350" y="3172366"/>
        <a:ext cx="4155100" cy="801330"/>
      </dsp:txXfrm>
    </dsp:sp>
    <dsp:sp modelId="{359CF9CC-58C7-4540-A4D0-8ED41A27794E}">
      <dsp:nvSpPr>
        <dsp:cNvPr id="0" name=""/>
        <dsp:cNvSpPr/>
      </dsp:nvSpPr>
      <dsp:spPr>
        <a:xfrm>
          <a:off x="0" y="4083286"/>
          <a:ext cx="4241800" cy="88803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Ultrasound fellowship</a:t>
          </a:r>
          <a:endParaRPr lang="en-US" sz="2300" kern="1200" dirty="0"/>
        </a:p>
      </dsp:txBody>
      <dsp:txXfrm>
        <a:off x="43350" y="4126636"/>
        <a:ext cx="4155100" cy="801330"/>
      </dsp:txXfrm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D2D2F0-437A-4F9C-BBB5-F608935F34EF}">
      <dsp:nvSpPr>
        <dsp:cNvPr id="0" name=""/>
        <dsp:cNvSpPr/>
      </dsp:nvSpPr>
      <dsp:spPr>
        <a:xfrm>
          <a:off x="0" y="69359"/>
          <a:ext cx="83058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/>
            <a:t>Critically assess scientific merit of research protocols &amp; publications</a:t>
          </a:r>
        </a:p>
      </dsp:txBody>
      <dsp:txXfrm>
        <a:off x="31070" y="100429"/>
        <a:ext cx="8243660" cy="574340"/>
      </dsp:txXfrm>
    </dsp:sp>
    <dsp:sp modelId="{8CD48FE3-C914-48C2-BDDD-63228BCAFDD2}">
      <dsp:nvSpPr>
        <dsp:cNvPr id="0" name=""/>
        <dsp:cNvSpPr/>
      </dsp:nvSpPr>
      <dsp:spPr>
        <a:xfrm>
          <a:off x="0" y="803759"/>
          <a:ext cx="83058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/>
            <a:t>Gain knowledge in basic clinical epidemiologic principles &amp; biostatistics</a:t>
          </a:r>
        </a:p>
      </dsp:txBody>
      <dsp:txXfrm>
        <a:off x="31070" y="834829"/>
        <a:ext cx="8243660" cy="574340"/>
      </dsp:txXfrm>
    </dsp:sp>
    <dsp:sp modelId="{58415BC2-30BE-4D2C-BCE6-7C363EEF4785}">
      <dsp:nvSpPr>
        <dsp:cNvPr id="0" name=""/>
        <dsp:cNvSpPr/>
      </dsp:nvSpPr>
      <dsp:spPr>
        <a:xfrm>
          <a:off x="0" y="1538159"/>
          <a:ext cx="83058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/>
            <a:t>Explore non-traditional avenues for demonstrating scholarship</a:t>
          </a:r>
        </a:p>
      </dsp:txBody>
      <dsp:txXfrm>
        <a:off x="31070" y="1569229"/>
        <a:ext cx="8243660" cy="574340"/>
      </dsp:txXfrm>
    </dsp:sp>
    <dsp:sp modelId="{4221A295-2246-4600-B801-75EECC222B8C}">
      <dsp:nvSpPr>
        <dsp:cNvPr id="0" name=""/>
        <dsp:cNvSpPr/>
      </dsp:nvSpPr>
      <dsp:spPr>
        <a:xfrm>
          <a:off x="0" y="2272559"/>
          <a:ext cx="83058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/>
            <a:t>Design &amp; conduct a hypothesis driven scholarly project</a:t>
          </a:r>
        </a:p>
      </dsp:txBody>
      <dsp:txXfrm>
        <a:off x="31070" y="2303629"/>
        <a:ext cx="8243660" cy="574340"/>
      </dsp:txXfrm>
    </dsp:sp>
    <dsp:sp modelId="{0AC86674-8888-4AAD-8D6A-8D78BEE99841}">
      <dsp:nvSpPr>
        <dsp:cNvPr id="0" name=""/>
        <dsp:cNvSpPr/>
      </dsp:nvSpPr>
      <dsp:spPr>
        <a:xfrm>
          <a:off x="0" y="3006959"/>
          <a:ext cx="83058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Analyze &amp; interpret data</a:t>
          </a:r>
        </a:p>
      </dsp:txBody>
      <dsp:txXfrm>
        <a:off x="31070" y="3038029"/>
        <a:ext cx="8243660" cy="574340"/>
      </dsp:txXfrm>
    </dsp:sp>
    <dsp:sp modelId="{72D9769A-3340-4E02-914C-CEAAEDDB5EAF}">
      <dsp:nvSpPr>
        <dsp:cNvPr id="0" name=""/>
        <dsp:cNvSpPr/>
      </dsp:nvSpPr>
      <dsp:spPr>
        <a:xfrm>
          <a:off x="0" y="3741360"/>
          <a:ext cx="83058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Acquire knowledge in grant funding mechanisms</a:t>
          </a:r>
          <a:endParaRPr lang="en-US" sz="2000" b="0" i="0" kern="1200" dirty="0"/>
        </a:p>
      </dsp:txBody>
      <dsp:txXfrm>
        <a:off x="31070" y="3772430"/>
        <a:ext cx="8243660" cy="574340"/>
      </dsp:txXfrm>
    </dsp:sp>
    <dsp:sp modelId="{59F94B86-726F-4B2D-82A3-5957963850FC}">
      <dsp:nvSpPr>
        <dsp:cNvPr id="0" name=""/>
        <dsp:cNvSpPr/>
      </dsp:nvSpPr>
      <dsp:spPr>
        <a:xfrm>
          <a:off x="0" y="4475760"/>
          <a:ext cx="8305800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/>
            <a:t>Attain and hone writing skills</a:t>
          </a:r>
        </a:p>
      </dsp:txBody>
      <dsp:txXfrm>
        <a:off x="31070" y="4506830"/>
        <a:ext cx="8243660" cy="574340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6BE44B-5812-4EDB-801F-EBA6D11ADF25}">
      <dsp:nvSpPr>
        <dsp:cNvPr id="0" name=""/>
        <dsp:cNvSpPr/>
      </dsp:nvSpPr>
      <dsp:spPr>
        <a:xfrm>
          <a:off x="0" y="553852"/>
          <a:ext cx="7391400" cy="83421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0" kern="1200"/>
            <a:t>Small group setting where faculty focus on thorough development of research projects</a:t>
          </a:r>
          <a:endParaRPr lang="en-US" sz="2300" b="0" kern="1200" dirty="0"/>
        </a:p>
      </dsp:txBody>
      <dsp:txXfrm>
        <a:off x="40723" y="594575"/>
        <a:ext cx="7309954" cy="752764"/>
      </dsp:txXfrm>
    </dsp:sp>
    <dsp:sp modelId="{35006A8D-BED1-44FD-8360-4709DCBCD1F3}">
      <dsp:nvSpPr>
        <dsp:cNvPr id="0" name=""/>
        <dsp:cNvSpPr/>
      </dsp:nvSpPr>
      <dsp:spPr>
        <a:xfrm>
          <a:off x="0" y="1454302"/>
          <a:ext cx="7391400" cy="834210"/>
        </a:xfrm>
        <a:prstGeom prst="roundRect">
          <a:avLst/>
        </a:prstGeom>
        <a:solidFill>
          <a:schemeClr val="accent2">
            <a:hueOff val="-5171786"/>
            <a:satOff val="-9695"/>
            <a:lumOff val="993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0" kern="1200" dirty="0"/>
            <a:t>Faculty</a:t>
          </a:r>
          <a:r>
            <a:rPr lang="en-US" sz="2300" b="1" kern="1200" dirty="0"/>
            <a:t> </a:t>
          </a:r>
          <a:r>
            <a:rPr lang="en-US" sz="2300" b="0" kern="1200" dirty="0"/>
            <a:t>with expertise in quantitative and qualitative research, education, quality improvement, and global health</a:t>
          </a:r>
        </a:p>
      </dsp:txBody>
      <dsp:txXfrm>
        <a:off x="40723" y="1495025"/>
        <a:ext cx="7309954" cy="752764"/>
      </dsp:txXfrm>
    </dsp:sp>
    <dsp:sp modelId="{ED0F4F48-BFAE-4E8A-BCD8-29EDE1DDF222}">
      <dsp:nvSpPr>
        <dsp:cNvPr id="0" name=""/>
        <dsp:cNvSpPr/>
      </dsp:nvSpPr>
      <dsp:spPr>
        <a:xfrm>
          <a:off x="0" y="2354752"/>
          <a:ext cx="7391400" cy="834210"/>
        </a:xfrm>
        <a:prstGeom prst="roundRect">
          <a:avLst/>
        </a:prstGeom>
        <a:solidFill>
          <a:schemeClr val="accent2">
            <a:hueOff val="-10343573"/>
            <a:satOff val="-19389"/>
            <a:lumOff val="1986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Receive written and verbal feedback on: </a:t>
          </a:r>
        </a:p>
      </dsp:txBody>
      <dsp:txXfrm>
        <a:off x="40723" y="2395475"/>
        <a:ext cx="7309954" cy="752764"/>
      </dsp:txXfrm>
    </dsp:sp>
    <dsp:sp modelId="{E49297C0-C758-4A10-8DD6-7D2C8230D341}">
      <dsp:nvSpPr>
        <dsp:cNvPr id="0" name=""/>
        <dsp:cNvSpPr/>
      </dsp:nvSpPr>
      <dsp:spPr>
        <a:xfrm>
          <a:off x="0" y="3188962"/>
          <a:ext cx="7391400" cy="8331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677" tIns="29210" rIns="163576" bIns="29210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/>
            <a:t>Study question </a:t>
          </a: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/>
            <a:t>Study design</a:t>
          </a: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800" kern="1200"/>
            <a:t>Analysis plan</a:t>
          </a:r>
        </a:p>
      </dsp:txBody>
      <dsp:txXfrm>
        <a:off x="0" y="3188962"/>
        <a:ext cx="7391400" cy="833175"/>
      </dsp:txXfrm>
    </dsp:sp>
    <dsp:sp modelId="{20BAA634-5245-4186-A6C9-F59F74675CF4}">
      <dsp:nvSpPr>
        <dsp:cNvPr id="0" name=""/>
        <dsp:cNvSpPr/>
      </dsp:nvSpPr>
      <dsp:spPr>
        <a:xfrm>
          <a:off x="0" y="4022137"/>
          <a:ext cx="7391400" cy="834210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1st year fellows required to attend 4 sessions</a:t>
          </a:r>
        </a:p>
      </dsp:txBody>
      <dsp:txXfrm>
        <a:off x="40723" y="4062860"/>
        <a:ext cx="7309954" cy="75276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AF8D72-9ADD-445A-886E-81FF3D97BFF3}">
      <dsp:nvSpPr>
        <dsp:cNvPr id="0" name=""/>
        <dsp:cNvSpPr/>
      </dsp:nvSpPr>
      <dsp:spPr>
        <a:xfrm>
          <a:off x="0" y="296465"/>
          <a:ext cx="8309811" cy="75289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Fellowship began in 1992</a:t>
          </a:r>
        </a:p>
      </dsp:txBody>
      <dsp:txXfrm>
        <a:off x="36753" y="333218"/>
        <a:ext cx="8236305" cy="679389"/>
      </dsp:txXfrm>
    </dsp:sp>
    <dsp:sp modelId="{A919A9B5-80AA-4C55-9E5A-0EE1FE0B80AC}">
      <dsp:nvSpPr>
        <dsp:cNvPr id="0" name=""/>
        <dsp:cNvSpPr/>
      </dsp:nvSpPr>
      <dsp:spPr>
        <a:xfrm>
          <a:off x="0" y="1184571"/>
          <a:ext cx="8309811" cy="752895"/>
        </a:xfrm>
        <a:prstGeom prst="roundRect">
          <a:avLst/>
        </a:prstGeom>
        <a:solidFill>
          <a:schemeClr val="accent2">
            <a:hueOff val="-3103072"/>
            <a:satOff val="-5817"/>
            <a:lumOff val="596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51 PEM faculty, 6 POCUS faculty, GEMS, APPS</a:t>
          </a:r>
        </a:p>
      </dsp:txBody>
      <dsp:txXfrm>
        <a:off x="36753" y="1221324"/>
        <a:ext cx="8236305" cy="679389"/>
      </dsp:txXfrm>
    </dsp:sp>
    <dsp:sp modelId="{AF130AD1-1B73-49C2-8CB0-84A0F8C7954D}">
      <dsp:nvSpPr>
        <dsp:cNvPr id="0" name=""/>
        <dsp:cNvSpPr/>
      </dsp:nvSpPr>
      <dsp:spPr>
        <a:xfrm>
          <a:off x="0" y="2032506"/>
          <a:ext cx="8309811" cy="752895"/>
        </a:xfrm>
        <a:prstGeom prst="roundRect">
          <a:avLst/>
        </a:prstGeom>
        <a:solidFill>
          <a:schemeClr val="accent2">
            <a:hueOff val="-6206144"/>
            <a:satOff val="-11634"/>
            <a:lumOff val="1192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120 fellowship graduates across the country</a:t>
          </a:r>
        </a:p>
      </dsp:txBody>
      <dsp:txXfrm>
        <a:off x="36753" y="2069259"/>
        <a:ext cx="8236305" cy="679389"/>
      </dsp:txXfrm>
    </dsp:sp>
    <dsp:sp modelId="{E7B1C4C5-B1E4-445C-9349-A6C7F1D25941}">
      <dsp:nvSpPr>
        <dsp:cNvPr id="0" name=""/>
        <dsp:cNvSpPr/>
      </dsp:nvSpPr>
      <dsp:spPr>
        <a:xfrm>
          <a:off x="0" y="2880441"/>
          <a:ext cx="8309811" cy="752895"/>
        </a:xfrm>
        <a:prstGeom prst="roundRect">
          <a:avLst/>
        </a:prstGeom>
        <a:solidFill>
          <a:schemeClr val="accent2">
            <a:hueOff val="-9309216"/>
            <a:satOff val="-17450"/>
            <a:lumOff val="1788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b="0" kern="1200" dirty="0"/>
            <a:t>Currently 18 fellows  </a:t>
          </a:r>
        </a:p>
      </dsp:txBody>
      <dsp:txXfrm>
        <a:off x="36753" y="2917194"/>
        <a:ext cx="8236305" cy="679389"/>
      </dsp:txXfrm>
    </dsp:sp>
    <dsp:sp modelId="{68400A83-4E9D-40A9-AB08-147A62F157B5}">
      <dsp:nvSpPr>
        <dsp:cNvPr id="0" name=""/>
        <dsp:cNvSpPr/>
      </dsp:nvSpPr>
      <dsp:spPr>
        <a:xfrm>
          <a:off x="0" y="3728377"/>
          <a:ext cx="8309811" cy="752895"/>
        </a:xfrm>
        <a:prstGeom prst="roundRect">
          <a:avLst/>
        </a:prstGeom>
        <a:solidFill>
          <a:schemeClr val="accent2">
            <a:hueOff val="-12412288"/>
            <a:satOff val="-23267"/>
            <a:lumOff val="2384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/>
            <a:t>EM and pediatrics trained</a:t>
          </a:r>
        </a:p>
      </dsp:txBody>
      <dsp:txXfrm>
        <a:off x="36753" y="3765130"/>
        <a:ext cx="8236305" cy="679389"/>
      </dsp:txXfrm>
    </dsp:sp>
    <dsp:sp modelId="{902F646D-CD59-4921-BBA1-5CA102EC9848}">
      <dsp:nvSpPr>
        <dsp:cNvPr id="0" name=""/>
        <dsp:cNvSpPr/>
      </dsp:nvSpPr>
      <dsp:spPr>
        <a:xfrm>
          <a:off x="0" y="4576312"/>
          <a:ext cx="8309811" cy="752895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l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2021-Received 174 applications for 6 positions</a:t>
          </a:r>
        </a:p>
      </dsp:txBody>
      <dsp:txXfrm>
        <a:off x="36753" y="4613065"/>
        <a:ext cx="8236305" cy="679389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FC172A-D0FA-49CF-AB6A-8E41F9BDCF2D}">
      <dsp:nvSpPr>
        <dsp:cNvPr id="0" name=""/>
        <dsp:cNvSpPr/>
      </dsp:nvSpPr>
      <dsp:spPr>
        <a:xfrm>
          <a:off x="0" y="37496"/>
          <a:ext cx="8638032" cy="93541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100" kern="1200" dirty="0"/>
            <a:t>Journal Club</a:t>
          </a:r>
        </a:p>
      </dsp:txBody>
      <dsp:txXfrm>
        <a:off x="45663" y="83159"/>
        <a:ext cx="8546706" cy="844089"/>
      </dsp:txXfrm>
    </dsp:sp>
    <dsp:sp modelId="{2D6F236B-F7E3-4F2D-A8DD-47054028ED3D}">
      <dsp:nvSpPr>
        <dsp:cNvPr id="0" name=""/>
        <dsp:cNvSpPr/>
      </dsp:nvSpPr>
      <dsp:spPr>
        <a:xfrm>
          <a:off x="0" y="972911"/>
          <a:ext cx="8638032" cy="9972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4258" tIns="52070" rIns="291592" bIns="52070" numCol="1" spcCol="1270" anchor="t" anchorCtr="0">
          <a:noAutofit/>
        </a:bodyPr>
        <a:lstStyle/>
        <a:p>
          <a:pPr marL="285750" lvl="1" indent="-285750" algn="l" defTabSz="1422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3200" kern="1200" dirty="0"/>
            <a:t>Purpose: To learn critical appraisal skills </a:t>
          </a:r>
        </a:p>
        <a:p>
          <a:pPr marL="285750" lvl="1" indent="-285750" algn="l" defTabSz="1422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3200" kern="1200" dirty="0"/>
            <a:t>Review recent paper from past 2 years</a:t>
          </a:r>
        </a:p>
      </dsp:txBody>
      <dsp:txXfrm>
        <a:off x="0" y="972911"/>
        <a:ext cx="8638032" cy="997222"/>
      </dsp:txXfrm>
    </dsp:sp>
    <dsp:sp modelId="{2DB1E04D-F04E-400A-9A0E-44551F3396AE}">
      <dsp:nvSpPr>
        <dsp:cNvPr id="0" name=""/>
        <dsp:cNvSpPr/>
      </dsp:nvSpPr>
      <dsp:spPr>
        <a:xfrm>
          <a:off x="0" y="1970133"/>
          <a:ext cx="8638032" cy="935415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l" defTabSz="1822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100" kern="1200" dirty="0"/>
            <a:t>Literature Review</a:t>
          </a:r>
        </a:p>
      </dsp:txBody>
      <dsp:txXfrm>
        <a:off x="45663" y="2015796"/>
        <a:ext cx="8546706" cy="844089"/>
      </dsp:txXfrm>
    </dsp:sp>
    <dsp:sp modelId="{0D781816-900F-4A88-8AF7-9E0A990A8AE1}">
      <dsp:nvSpPr>
        <dsp:cNvPr id="0" name=""/>
        <dsp:cNvSpPr/>
      </dsp:nvSpPr>
      <dsp:spPr>
        <a:xfrm>
          <a:off x="0" y="2905548"/>
          <a:ext cx="8638032" cy="14003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4258" tIns="52070" rIns="291592" bIns="52070" numCol="1" spcCol="1270" anchor="t" anchorCtr="0">
          <a:noAutofit/>
        </a:bodyPr>
        <a:lstStyle/>
        <a:p>
          <a:pPr marL="285750" lvl="1" indent="-285750" algn="l" defTabSz="1422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3200" kern="1200" dirty="0"/>
            <a:t>To review classic PEM articles</a:t>
          </a:r>
        </a:p>
        <a:p>
          <a:pPr marL="285750" lvl="1" indent="-285750" algn="l" defTabSz="14224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3200" kern="1200" dirty="0"/>
            <a:t>To review recent ‘hot off the press’ articles that have been published within the past 6 months</a:t>
          </a:r>
        </a:p>
      </dsp:txBody>
      <dsp:txXfrm>
        <a:off x="0" y="2905548"/>
        <a:ext cx="8638032" cy="1400355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C1704E-8A91-4004-A9EF-9DE5E9590D49}">
      <dsp:nvSpPr>
        <dsp:cNvPr id="0" name=""/>
        <dsp:cNvSpPr/>
      </dsp:nvSpPr>
      <dsp:spPr>
        <a:xfrm>
          <a:off x="0" y="76203"/>
          <a:ext cx="7261746" cy="6084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u="none" kern="1200" dirty="0"/>
            <a:t>Mentor</a:t>
          </a:r>
        </a:p>
      </dsp:txBody>
      <dsp:txXfrm>
        <a:off x="29700" y="105903"/>
        <a:ext cx="7202346" cy="549000"/>
      </dsp:txXfrm>
    </dsp:sp>
    <dsp:sp modelId="{2B643849-C3A4-4D57-AFC5-FDB562633774}">
      <dsp:nvSpPr>
        <dsp:cNvPr id="0" name=""/>
        <dsp:cNvSpPr/>
      </dsp:nvSpPr>
      <dsp:spPr>
        <a:xfrm>
          <a:off x="0" y="653321"/>
          <a:ext cx="7261746" cy="1184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0560" tIns="33020" rIns="184912" bIns="33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 dirty="0"/>
            <a:t>Attend journal club, fellow lecture, follow-up rounds and QPI presentation for mentee 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Give quarterly feedback to mentee on clinical/academic performance</a:t>
          </a:r>
        </a:p>
      </dsp:txBody>
      <dsp:txXfrm>
        <a:off x="0" y="653321"/>
        <a:ext cx="7261746" cy="1184040"/>
      </dsp:txXfrm>
    </dsp:sp>
    <dsp:sp modelId="{9822599E-3FB3-4BFE-A81F-EC4092DEF0D5}">
      <dsp:nvSpPr>
        <dsp:cNvPr id="0" name=""/>
        <dsp:cNvSpPr/>
      </dsp:nvSpPr>
      <dsp:spPr>
        <a:xfrm>
          <a:off x="0" y="1837361"/>
          <a:ext cx="7261746" cy="6084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u="none" kern="1200"/>
            <a:t>Research Mentor</a:t>
          </a:r>
          <a:endParaRPr lang="en-US" sz="2600" u="none" kern="1200"/>
        </a:p>
      </dsp:txBody>
      <dsp:txXfrm>
        <a:off x="29700" y="1867061"/>
        <a:ext cx="7202346" cy="549000"/>
      </dsp:txXfrm>
    </dsp:sp>
    <dsp:sp modelId="{093ED6F2-1EF9-4726-8C0E-41F9B5E4B459}">
      <dsp:nvSpPr>
        <dsp:cNvPr id="0" name=""/>
        <dsp:cNvSpPr/>
      </dsp:nvSpPr>
      <dsp:spPr>
        <a:xfrm>
          <a:off x="0" y="2445761"/>
          <a:ext cx="7261746" cy="13185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0560" tIns="33020" rIns="184912" bIns="33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Participate in ACER sessions with fellow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Review the fellow’s proposal prior to submission to ACER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Review the fellow’s IRB prior to submission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Review abstracts and manuscripts prior to submission</a:t>
          </a:r>
        </a:p>
      </dsp:txBody>
      <dsp:txXfrm>
        <a:off x="0" y="2445761"/>
        <a:ext cx="7261746" cy="1318590"/>
      </dsp:txXfrm>
    </dsp:sp>
    <dsp:sp modelId="{DA6BBA0C-09F5-4675-A738-FE9A0CEB30CD}">
      <dsp:nvSpPr>
        <dsp:cNvPr id="0" name=""/>
        <dsp:cNvSpPr/>
      </dsp:nvSpPr>
      <dsp:spPr>
        <a:xfrm>
          <a:off x="0" y="3764351"/>
          <a:ext cx="7261746" cy="6084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u="none" kern="1200"/>
            <a:t>Both</a:t>
          </a:r>
          <a:endParaRPr lang="en-US" sz="2600" u="none" kern="1200"/>
        </a:p>
      </dsp:txBody>
      <dsp:txXfrm>
        <a:off x="29700" y="3794051"/>
        <a:ext cx="7202346" cy="549000"/>
      </dsp:txXfrm>
    </dsp:sp>
    <dsp:sp modelId="{E277AD59-A1A2-49ED-9B4C-2A08097AE352}">
      <dsp:nvSpPr>
        <dsp:cNvPr id="0" name=""/>
        <dsp:cNvSpPr/>
      </dsp:nvSpPr>
      <dsp:spPr>
        <a:xfrm>
          <a:off x="0" y="4372751"/>
          <a:ext cx="7261746" cy="6592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0560" tIns="33020" rIns="184912" bIns="3302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Review posters and slides prior to presentations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000" kern="1200"/>
            <a:t>Attend 2 SOC meetings per year</a:t>
          </a:r>
        </a:p>
      </dsp:txBody>
      <dsp:txXfrm>
        <a:off x="0" y="4372751"/>
        <a:ext cx="7261746" cy="659295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8D7146-D160-4916-87CB-1A83A9CCC032}">
      <dsp:nvSpPr>
        <dsp:cNvPr id="0" name=""/>
        <dsp:cNvSpPr/>
      </dsp:nvSpPr>
      <dsp:spPr>
        <a:xfrm>
          <a:off x="0" y="18299"/>
          <a:ext cx="8839200" cy="7488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Case submissions (PEMPix, EmergiQuiz, Case Reports)</a:t>
          </a:r>
          <a:endParaRPr lang="en-US" sz="2400" kern="1200" dirty="0"/>
        </a:p>
      </dsp:txBody>
      <dsp:txXfrm>
        <a:off x="36553" y="54852"/>
        <a:ext cx="8766094" cy="675694"/>
      </dsp:txXfrm>
    </dsp:sp>
    <dsp:sp modelId="{FD8F9267-9750-46D0-9891-E21639305FA6}">
      <dsp:nvSpPr>
        <dsp:cNvPr id="0" name=""/>
        <dsp:cNvSpPr/>
      </dsp:nvSpPr>
      <dsp:spPr>
        <a:xfrm>
          <a:off x="0" y="882299"/>
          <a:ext cx="8839200" cy="748800"/>
        </a:xfrm>
        <a:prstGeom prst="roundRect">
          <a:avLst/>
        </a:prstGeom>
        <a:solidFill>
          <a:schemeClr val="accent2">
            <a:hueOff val="-3103072"/>
            <a:satOff val="-5817"/>
            <a:lumOff val="596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articipation in National PEM Fellows’ Conference</a:t>
          </a:r>
        </a:p>
      </dsp:txBody>
      <dsp:txXfrm>
        <a:off x="36553" y="918852"/>
        <a:ext cx="8766094" cy="675694"/>
      </dsp:txXfrm>
    </dsp:sp>
    <dsp:sp modelId="{166D956B-28F1-4BA4-A197-A795F6DBF3B9}">
      <dsp:nvSpPr>
        <dsp:cNvPr id="0" name=""/>
        <dsp:cNvSpPr/>
      </dsp:nvSpPr>
      <dsp:spPr>
        <a:xfrm>
          <a:off x="0" y="1746299"/>
          <a:ext cx="8839200" cy="748800"/>
        </a:xfrm>
        <a:prstGeom prst="roundRect">
          <a:avLst/>
        </a:prstGeom>
        <a:solidFill>
          <a:schemeClr val="accent2">
            <a:hueOff val="-6206144"/>
            <a:satOff val="-11634"/>
            <a:lumOff val="1192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Feedback on presentations for conferences</a:t>
          </a:r>
        </a:p>
      </dsp:txBody>
      <dsp:txXfrm>
        <a:off x="36553" y="1782852"/>
        <a:ext cx="8766094" cy="675694"/>
      </dsp:txXfrm>
    </dsp:sp>
    <dsp:sp modelId="{B7D45643-C2A2-4552-B136-1B281599E6E9}">
      <dsp:nvSpPr>
        <dsp:cNvPr id="0" name=""/>
        <dsp:cNvSpPr/>
      </dsp:nvSpPr>
      <dsp:spPr>
        <a:xfrm>
          <a:off x="0" y="2610299"/>
          <a:ext cx="8839200" cy="748800"/>
        </a:xfrm>
        <a:prstGeom prst="roundRect">
          <a:avLst/>
        </a:prstGeom>
        <a:solidFill>
          <a:schemeClr val="accent2">
            <a:hueOff val="-9309216"/>
            <a:satOff val="-17450"/>
            <a:lumOff val="1788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areer workshop in July </a:t>
          </a:r>
        </a:p>
      </dsp:txBody>
      <dsp:txXfrm>
        <a:off x="36553" y="2646852"/>
        <a:ext cx="8766094" cy="675694"/>
      </dsp:txXfrm>
    </dsp:sp>
    <dsp:sp modelId="{825CA27A-A66F-4F56-9C7B-2ADACF89EFC5}">
      <dsp:nvSpPr>
        <dsp:cNvPr id="0" name=""/>
        <dsp:cNvSpPr/>
      </dsp:nvSpPr>
      <dsp:spPr>
        <a:xfrm>
          <a:off x="0" y="3474300"/>
          <a:ext cx="8839200" cy="748800"/>
        </a:xfrm>
        <a:prstGeom prst="roundRect">
          <a:avLst/>
        </a:prstGeom>
        <a:solidFill>
          <a:schemeClr val="accent2">
            <a:hueOff val="-12412288"/>
            <a:satOff val="-23267"/>
            <a:lumOff val="2384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Final year career planning at orientation</a:t>
          </a:r>
        </a:p>
      </dsp:txBody>
      <dsp:txXfrm>
        <a:off x="36553" y="3510853"/>
        <a:ext cx="8766094" cy="675694"/>
      </dsp:txXfrm>
    </dsp:sp>
    <dsp:sp modelId="{9E71F3CC-0E9E-4F7D-8C00-F6F123CC82BE}">
      <dsp:nvSpPr>
        <dsp:cNvPr id="0" name=""/>
        <dsp:cNvSpPr/>
      </dsp:nvSpPr>
      <dsp:spPr>
        <a:xfrm>
          <a:off x="0" y="4338300"/>
          <a:ext cx="8839200" cy="748800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BCM Fellows’ Day abstract presentations</a:t>
          </a:r>
        </a:p>
      </dsp:txBody>
      <dsp:txXfrm>
        <a:off x="36553" y="4374853"/>
        <a:ext cx="8766094" cy="675694"/>
      </dsp:txXfrm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BF44D9-BCA3-413D-B683-E6C3C2301365}">
      <dsp:nvSpPr>
        <dsp:cNvPr id="0" name=""/>
        <dsp:cNvSpPr/>
      </dsp:nvSpPr>
      <dsp:spPr>
        <a:xfrm>
          <a:off x="0" y="847852"/>
          <a:ext cx="7467600" cy="4446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Career dinners</a:t>
          </a:r>
          <a:endParaRPr lang="en-US" sz="1900" kern="1200" dirty="0"/>
        </a:p>
      </dsp:txBody>
      <dsp:txXfrm>
        <a:off x="21704" y="869556"/>
        <a:ext cx="7424192" cy="401192"/>
      </dsp:txXfrm>
    </dsp:sp>
    <dsp:sp modelId="{D287154F-6C79-4E7E-AC70-168F53E81C55}">
      <dsp:nvSpPr>
        <dsp:cNvPr id="0" name=""/>
        <dsp:cNvSpPr/>
      </dsp:nvSpPr>
      <dsp:spPr>
        <a:xfrm>
          <a:off x="0" y="1352820"/>
          <a:ext cx="7467600" cy="4446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Advanced degrees (MPH, MBA, MEd, Master’s Clinical Research)</a:t>
          </a:r>
        </a:p>
      </dsp:txBody>
      <dsp:txXfrm>
        <a:off x="21704" y="1374524"/>
        <a:ext cx="7424192" cy="401192"/>
      </dsp:txXfrm>
    </dsp:sp>
    <dsp:sp modelId="{0768FF04-4701-4739-A12A-A3FF6E41E56C}">
      <dsp:nvSpPr>
        <dsp:cNvPr id="0" name=""/>
        <dsp:cNvSpPr/>
      </dsp:nvSpPr>
      <dsp:spPr>
        <a:xfrm>
          <a:off x="0" y="1852140"/>
          <a:ext cx="7467600" cy="4446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Writing book chapters or review articles</a:t>
          </a:r>
        </a:p>
      </dsp:txBody>
      <dsp:txXfrm>
        <a:off x="21704" y="1873844"/>
        <a:ext cx="7424192" cy="401192"/>
      </dsp:txXfrm>
    </dsp:sp>
    <dsp:sp modelId="{0111AACE-1BE9-42C8-9BEB-EB46F0AF501E}">
      <dsp:nvSpPr>
        <dsp:cNvPr id="0" name=""/>
        <dsp:cNvSpPr/>
      </dsp:nvSpPr>
      <dsp:spPr>
        <a:xfrm>
          <a:off x="0" y="2351460"/>
          <a:ext cx="7467600" cy="444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Teaching residents, medical students, paramedics</a:t>
          </a:r>
        </a:p>
      </dsp:txBody>
      <dsp:txXfrm>
        <a:off x="21704" y="2373164"/>
        <a:ext cx="7424192" cy="401192"/>
      </dsp:txXfrm>
    </dsp:sp>
    <dsp:sp modelId="{706BB23E-4713-4C60-986C-7ACC1299EB87}">
      <dsp:nvSpPr>
        <dsp:cNvPr id="0" name=""/>
        <dsp:cNvSpPr/>
      </dsp:nvSpPr>
      <dsp:spPr>
        <a:xfrm>
          <a:off x="0" y="2850780"/>
          <a:ext cx="7467600" cy="44460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Evidence-Based Medicine course</a:t>
          </a:r>
        </a:p>
      </dsp:txBody>
      <dsp:txXfrm>
        <a:off x="21704" y="2872484"/>
        <a:ext cx="7424192" cy="401192"/>
      </dsp:txXfrm>
    </dsp:sp>
    <dsp:sp modelId="{62C4D2EB-8469-47D3-8C8F-43EF254473A6}">
      <dsp:nvSpPr>
        <dsp:cNvPr id="0" name=""/>
        <dsp:cNvSpPr/>
      </dsp:nvSpPr>
      <dsp:spPr>
        <a:xfrm>
          <a:off x="0" y="3350100"/>
          <a:ext cx="7467600" cy="4446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Serving on section or hospital-wide committees</a:t>
          </a:r>
        </a:p>
      </dsp:txBody>
      <dsp:txXfrm>
        <a:off x="21704" y="3371804"/>
        <a:ext cx="7424192" cy="401192"/>
      </dsp:txXfrm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EB2D2F-9819-43A3-B6EE-B50D57860E22}">
      <dsp:nvSpPr>
        <dsp:cNvPr id="0" name=""/>
        <dsp:cNvSpPr/>
      </dsp:nvSpPr>
      <dsp:spPr>
        <a:xfrm>
          <a:off x="0" y="0"/>
          <a:ext cx="7087696" cy="6552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Research Chief</a:t>
          </a:r>
          <a:endParaRPr lang="en-US" sz="2800" kern="1200" dirty="0"/>
        </a:p>
      </dsp:txBody>
      <dsp:txXfrm>
        <a:off x="31984" y="31984"/>
        <a:ext cx="7023728" cy="591232"/>
      </dsp:txXfrm>
    </dsp:sp>
    <dsp:sp modelId="{32329537-A183-49DE-8F64-216CA62A0C5A}">
      <dsp:nvSpPr>
        <dsp:cNvPr id="0" name=""/>
        <dsp:cNvSpPr/>
      </dsp:nvSpPr>
      <dsp:spPr>
        <a:xfrm>
          <a:off x="0" y="796749"/>
          <a:ext cx="7087696" cy="6552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Directors of Research Education </a:t>
          </a:r>
          <a:endParaRPr lang="en-US" sz="2800" kern="1200" dirty="0"/>
        </a:p>
      </dsp:txBody>
      <dsp:txXfrm>
        <a:off x="31984" y="828733"/>
        <a:ext cx="7023728" cy="591232"/>
      </dsp:txXfrm>
    </dsp:sp>
    <dsp:sp modelId="{B85313ED-B985-4410-8467-77FFF131EED4}">
      <dsp:nvSpPr>
        <dsp:cNvPr id="0" name=""/>
        <dsp:cNvSpPr/>
      </dsp:nvSpPr>
      <dsp:spPr>
        <a:xfrm>
          <a:off x="0" y="1532590"/>
          <a:ext cx="7087696" cy="6552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Research Coordinators</a:t>
          </a:r>
        </a:p>
      </dsp:txBody>
      <dsp:txXfrm>
        <a:off x="31984" y="1564574"/>
        <a:ext cx="7023728" cy="591232"/>
      </dsp:txXfrm>
    </dsp:sp>
    <dsp:sp modelId="{28D9AE33-A55E-45A4-9F31-9F648E2C373D}">
      <dsp:nvSpPr>
        <dsp:cNvPr id="0" name=""/>
        <dsp:cNvSpPr/>
      </dsp:nvSpPr>
      <dsp:spPr>
        <a:xfrm>
          <a:off x="0" y="2268430"/>
          <a:ext cx="7087696" cy="6552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Research Assistants</a:t>
          </a:r>
        </a:p>
      </dsp:txBody>
      <dsp:txXfrm>
        <a:off x="31984" y="2300414"/>
        <a:ext cx="7023728" cy="591232"/>
      </dsp:txXfrm>
    </dsp:sp>
    <dsp:sp modelId="{CC540F81-3AB2-472A-92DF-1CC4F2B9D34A}">
      <dsp:nvSpPr>
        <dsp:cNvPr id="0" name=""/>
        <dsp:cNvSpPr/>
      </dsp:nvSpPr>
      <dsp:spPr>
        <a:xfrm>
          <a:off x="0" y="3004269"/>
          <a:ext cx="7087696" cy="65520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Academic Associates </a:t>
          </a:r>
          <a:endParaRPr lang="en-US" sz="2800" kern="1200" dirty="0"/>
        </a:p>
      </dsp:txBody>
      <dsp:txXfrm>
        <a:off x="31984" y="3036253"/>
        <a:ext cx="7023728" cy="591232"/>
      </dsp:txXfrm>
    </dsp:sp>
    <dsp:sp modelId="{BE2C86A9-E4E0-4A12-A846-8E895E167DD8}">
      <dsp:nvSpPr>
        <dsp:cNvPr id="0" name=""/>
        <dsp:cNvSpPr/>
      </dsp:nvSpPr>
      <dsp:spPr>
        <a:xfrm>
          <a:off x="0" y="3740109"/>
          <a:ext cx="7087696" cy="6552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PEM Section Support Staff</a:t>
          </a:r>
          <a:endParaRPr lang="en-US" sz="2800" kern="1200" dirty="0"/>
        </a:p>
      </dsp:txBody>
      <dsp:txXfrm>
        <a:off x="31984" y="3772093"/>
        <a:ext cx="7023728" cy="591232"/>
      </dsp:txXfrm>
    </dsp:sp>
    <dsp:sp modelId="{5CF12305-D046-4404-AA1C-3CA11D450DEA}">
      <dsp:nvSpPr>
        <dsp:cNvPr id="0" name=""/>
        <dsp:cNvSpPr/>
      </dsp:nvSpPr>
      <dsp:spPr>
        <a:xfrm>
          <a:off x="0" y="4395310"/>
          <a:ext cx="7087696" cy="1072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5034" tIns="35560" rIns="199136" bIns="35560" numCol="1" spcCol="1270" anchor="t" anchorCtr="0">
          <a:noAutofit/>
        </a:bodyPr>
        <a:lstStyle/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200" kern="1200"/>
            <a:t>Epidemiologist and database manager</a:t>
          </a:r>
          <a:endParaRPr lang="en-US" sz="2200" kern="1200" dirty="0"/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200" kern="1200"/>
            <a:t>Biostatistician</a:t>
          </a:r>
          <a:endParaRPr lang="en-US" sz="2200" kern="1200" dirty="0"/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200" kern="1200"/>
            <a:t>Accountant</a:t>
          </a:r>
          <a:endParaRPr lang="en-US" sz="2200" kern="1200" dirty="0"/>
        </a:p>
      </dsp:txBody>
      <dsp:txXfrm>
        <a:off x="0" y="4395310"/>
        <a:ext cx="7087696" cy="1072260"/>
      </dsp:txXfrm>
    </dsp:sp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F288C0-1D77-4747-B850-41D12269722D}">
      <dsp:nvSpPr>
        <dsp:cNvPr id="0" name=""/>
        <dsp:cNvSpPr/>
      </dsp:nvSpPr>
      <dsp:spPr>
        <a:xfrm>
          <a:off x="0" y="25424"/>
          <a:ext cx="7096670" cy="678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>
              <a:solidFill>
                <a:schemeClr val="bg1"/>
              </a:solidFill>
            </a:rPr>
            <a:t>National PEM research network, 18 sites</a:t>
          </a:r>
        </a:p>
      </dsp:txBody>
      <dsp:txXfrm>
        <a:off x="33127" y="58551"/>
        <a:ext cx="7030416" cy="612346"/>
      </dsp:txXfrm>
    </dsp:sp>
    <dsp:sp modelId="{8201ADFD-B4DF-4EEB-9BD4-C1A5033FF20E}">
      <dsp:nvSpPr>
        <dsp:cNvPr id="0" name=""/>
        <dsp:cNvSpPr/>
      </dsp:nvSpPr>
      <dsp:spPr>
        <a:xfrm>
          <a:off x="0" y="787544"/>
          <a:ext cx="7096670" cy="678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solidFill>
                <a:schemeClr val="bg1"/>
              </a:solidFill>
            </a:rPr>
            <a:t>TCH is a member site</a:t>
          </a:r>
        </a:p>
      </dsp:txBody>
      <dsp:txXfrm>
        <a:off x="33127" y="820671"/>
        <a:ext cx="7030416" cy="612346"/>
      </dsp:txXfrm>
    </dsp:sp>
    <dsp:sp modelId="{D55AF1AA-8D6C-40BC-B3DD-E4F2204273BF}">
      <dsp:nvSpPr>
        <dsp:cNvPr id="0" name=""/>
        <dsp:cNvSpPr/>
      </dsp:nvSpPr>
      <dsp:spPr>
        <a:xfrm>
          <a:off x="0" y="1549664"/>
          <a:ext cx="7096670" cy="678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>
              <a:solidFill>
                <a:schemeClr val="bg1"/>
              </a:solidFill>
            </a:rPr>
            <a:t>Enables multicenter studies: </a:t>
          </a:r>
        </a:p>
      </dsp:txBody>
      <dsp:txXfrm>
        <a:off x="33127" y="1582791"/>
        <a:ext cx="7030416" cy="612346"/>
      </dsp:txXfrm>
    </dsp:sp>
    <dsp:sp modelId="{D6E54AD2-8A58-49C8-8DFD-363EF5DF884C}">
      <dsp:nvSpPr>
        <dsp:cNvPr id="0" name=""/>
        <dsp:cNvSpPr/>
      </dsp:nvSpPr>
      <dsp:spPr>
        <a:xfrm>
          <a:off x="0" y="2228264"/>
          <a:ext cx="7096670" cy="15007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5319" tIns="36830" rIns="206248" bIns="36830" numCol="1" spcCol="1270" anchor="t" anchorCtr="0">
          <a:noAutofit/>
        </a:bodyPr>
        <a:lstStyle/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kern="1200" dirty="0">
              <a:solidFill>
                <a:schemeClr val="tx1"/>
              </a:solidFill>
            </a:rPr>
            <a:t>Decision rules for CTs after head injuries</a:t>
          </a:r>
        </a:p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kern="1200" dirty="0">
              <a:solidFill>
                <a:schemeClr val="tx1"/>
              </a:solidFill>
            </a:rPr>
            <a:t>DKA </a:t>
          </a:r>
        </a:p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kern="1200" dirty="0">
              <a:solidFill>
                <a:schemeClr val="tx1"/>
              </a:solidFill>
            </a:rPr>
            <a:t>Meningitis prediction rules</a:t>
          </a:r>
        </a:p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300" kern="1200" dirty="0">
              <a:solidFill>
                <a:schemeClr val="tx1"/>
              </a:solidFill>
            </a:rPr>
            <a:t>Multiple publications</a:t>
          </a:r>
        </a:p>
      </dsp:txBody>
      <dsp:txXfrm>
        <a:off x="0" y="2228264"/>
        <a:ext cx="7096670" cy="1500750"/>
      </dsp:txXfrm>
    </dsp:sp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566D0F-0BAC-4577-81D3-0A6DA301AC88}">
      <dsp:nvSpPr>
        <dsp:cNvPr id="0" name=""/>
        <dsp:cNvSpPr/>
      </dsp:nvSpPr>
      <dsp:spPr>
        <a:xfrm>
          <a:off x="0" y="33"/>
          <a:ext cx="7467600" cy="11583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 eaLnBrk="1" fontAlgn="base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Pts val="2800"/>
            <a:buFont typeface="Arial" panose="020B0604020202020204" pitchFamily="34" charset="0"/>
            <a:buNone/>
          </a:pPr>
          <a:r>
            <a:rPr lang="en-US" sz="2200" kern="1200"/>
            <a:t>Quality improvement projects: intubation, pain control in sickle cell patients, resuscitation/communication, appendicitis </a:t>
          </a:r>
          <a:endParaRPr lang="en-US" sz="2200" kern="1200" dirty="0"/>
        </a:p>
      </dsp:txBody>
      <dsp:txXfrm>
        <a:off x="56544" y="56577"/>
        <a:ext cx="7354512" cy="1045212"/>
      </dsp:txXfrm>
    </dsp:sp>
    <dsp:sp modelId="{F74EA0D2-4D6B-40C6-93F6-AF80E6B58CE9}">
      <dsp:nvSpPr>
        <dsp:cNvPr id="0" name=""/>
        <dsp:cNvSpPr/>
      </dsp:nvSpPr>
      <dsp:spPr>
        <a:xfrm>
          <a:off x="0" y="1221693"/>
          <a:ext cx="7467600" cy="1158300"/>
        </a:xfrm>
        <a:prstGeom prst="roundRect">
          <a:avLst/>
        </a:prstGeom>
        <a:solidFill>
          <a:schemeClr val="accent2">
            <a:hueOff val="-5171786"/>
            <a:satOff val="-9695"/>
            <a:lumOff val="993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 eaLnBrk="1" fontAlgn="base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Educational projects: ultrasound, simulation, rubrics, bad news delivery, e-learning</a:t>
          </a:r>
          <a:endParaRPr lang="en-US" sz="2200" kern="1200" dirty="0"/>
        </a:p>
      </dsp:txBody>
      <dsp:txXfrm>
        <a:off x="56544" y="1278237"/>
        <a:ext cx="7354512" cy="1045212"/>
      </dsp:txXfrm>
    </dsp:sp>
    <dsp:sp modelId="{98EAB03D-9BF1-425C-BD5B-359A0E80151B}">
      <dsp:nvSpPr>
        <dsp:cNvPr id="0" name=""/>
        <dsp:cNvSpPr/>
      </dsp:nvSpPr>
      <dsp:spPr>
        <a:xfrm>
          <a:off x="0" y="2443353"/>
          <a:ext cx="7467600" cy="1158300"/>
        </a:xfrm>
        <a:prstGeom prst="roundRect">
          <a:avLst/>
        </a:prstGeom>
        <a:solidFill>
          <a:schemeClr val="accent2">
            <a:hueOff val="-10343573"/>
            <a:satOff val="-19389"/>
            <a:lumOff val="1986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 eaLnBrk="1" fontAlgn="base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Global health: triage, resuscitation, simulation</a:t>
          </a:r>
          <a:endParaRPr lang="en-US" sz="2200" kern="1200" dirty="0"/>
        </a:p>
      </dsp:txBody>
      <dsp:txXfrm>
        <a:off x="56544" y="2499897"/>
        <a:ext cx="7354512" cy="1045212"/>
      </dsp:txXfrm>
    </dsp:sp>
    <dsp:sp modelId="{620AB720-BEDF-474F-A571-48AC50EBF131}">
      <dsp:nvSpPr>
        <dsp:cNvPr id="0" name=""/>
        <dsp:cNvSpPr/>
      </dsp:nvSpPr>
      <dsp:spPr>
        <a:xfrm>
          <a:off x="0" y="3665013"/>
          <a:ext cx="7467600" cy="1158300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 eaLnBrk="1" fontAlgn="base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Trauma: trampoline injuries, cognitive impact of mild traumatic brain injury, abuse in the NICU</a:t>
          </a:r>
          <a:endParaRPr lang="en-US" sz="2200" kern="1200" dirty="0"/>
        </a:p>
      </dsp:txBody>
      <dsp:txXfrm>
        <a:off x="56544" y="3721557"/>
        <a:ext cx="7354512" cy="1045212"/>
      </dsp:txXfrm>
    </dsp:sp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31D0C2-3415-44AF-AD65-E99B512C5559}">
      <dsp:nvSpPr>
        <dsp:cNvPr id="0" name=""/>
        <dsp:cNvSpPr/>
      </dsp:nvSpPr>
      <dsp:spPr>
        <a:xfrm>
          <a:off x="0" y="433064"/>
          <a:ext cx="8382000" cy="41827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u="sng" kern="1200" dirty="0"/>
            <a:t>Administration:</a:t>
          </a:r>
          <a:r>
            <a:rPr lang="en-US" sz="1100" kern="1200" dirty="0"/>
            <a:t> Optimizing billing for </a:t>
          </a:r>
          <a:r>
            <a:rPr lang="en-US" sz="1100" b="1" kern="1200" dirty="0"/>
            <a:t>procedural sedation </a:t>
          </a:r>
          <a:r>
            <a:rPr lang="en-US" sz="1100" kern="1200" dirty="0"/>
            <a:t>in the ED</a:t>
          </a:r>
        </a:p>
      </dsp:txBody>
      <dsp:txXfrm>
        <a:off x="20419" y="453483"/>
        <a:ext cx="8341162" cy="377437"/>
      </dsp:txXfrm>
    </dsp:sp>
    <dsp:sp modelId="{8D23D7EA-42BA-418B-8D6F-4C3C0D185071}">
      <dsp:nvSpPr>
        <dsp:cNvPr id="0" name=""/>
        <dsp:cNvSpPr/>
      </dsp:nvSpPr>
      <dsp:spPr>
        <a:xfrm>
          <a:off x="0" y="883019"/>
          <a:ext cx="8382000" cy="418275"/>
        </a:xfrm>
        <a:prstGeom prst="roundRect">
          <a:avLst/>
        </a:prstGeom>
        <a:solidFill>
          <a:schemeClr val="accent2">
            <a:hueOff val="-1723929"/>
            <a:satOff val="-3232"/>
            <a:lumOff val="331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u="sng" kern="1200"/>
            <a:t>Asthma:</a:t>
          </a:r>
          <a:r>
            <a:rPr lang="en-US" sz="1100" kern="1200"/>
            <a:t> </a:t>
          </a:r>
          <a:r>
            <a:rPr lang="en-US" sz="1100" kern="1200" dirty="0"/>
            <a:t>Standing Delegation Orders and </a:t>
          </a:r>
          <a:r>
            <a:rPr lang="en-US" sz="1100" b="1" kern="1200" dirty="0"/>
            <a:t>Triage Steroids</a:t>
          </a:r>
          <a:r>
            <a:rPr lang="en-US" sz="1100" kern="1200" dirty="0"/>
            <a:t>, Evaluating the inter-rater reliability and validity of the CRS in asthma patients,</a:t>
          </a:r>
        </a:p>
      </dsp:txBody>
      <dsp:txXfrm>
        <a:off x="20419" y="903438"/>
        <a:ext cx="8341162" cy="377437"/>
      </dsp:txXfrm>
    </dsp:sp>
    <dsp:sp modelId="{03E5EEE5-D1C0-43CB-981E-B4B024229958}">
      <dsp:nvSpPr>
        <dsp:cNvPr id="0" name=""/>
        <dsp:cNvSpPr/>
      </dsp:nvSpPr>
      <dsp:spPr>
        <a:xfrm>
          <a:off x="0" y="1332974"/>
          <a:ext cx="8382000" cy="418275"/>
        </a:xfrm>
        <a:prstGeom prst="roundRect">
          <a:avLst/>
        </a:prstGeom>
        <a:solidFill>
          <a:schemeClr val="accent2">
            <a:hueOff val="-3447858"/>
            <a:satOff val="-6463"/>
            <a:lumOff val="662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u="sng" kern="1200" dirty="0"/>
            <a:t>Bronchiolitis</a:t>
          </a:r>
          <a:r>
            <a:rPr lang="en-US" sz="1100" b="1" kern="1200" dirty="0"/>
            <a:t>: High Flow Nasal Cannula </a:t>
          </a:r>
          <a:r>
            <a:rPr lang="en-US" sz="1100" kern="1200" dirty="0"/>
            <a:t>and Intubation risk </a:t>
          </a:r>
        </a:p>
      </dsp:txBody>
      <dsp:txXfrm>
        <a:off x="20419" y="1353393"/>
        <a:ext cx="8341162" cy="377437"/>
      </dsp:txXfrm>
    </dsp:sp>
    <dsp:sp modelId="{45DA199F-2B50-4BFD-8185-E56C7F26B8BA}">
      <dsp:nvSpPr>
        <dsp:cNvPr id="0" name=""/>
        <dsp:cNvSpPr/>
      </dsp:nvSpPr>
      <dsp:spPr>
        <a:xfrm>
          <a:off x="0" y="1782930"/>
          <a:ext cx="8382000" cy="418275"/>
        </a:xfrm>
        <a:prstGeom prst="roundRect">
          <a:avLst/>
        </a:prstGeom>
        <a:solidFill>
          <a:schemeClr val="accent2">
            <a:hueOff val="-5171786"/>
            <a:satOff val="-9695"/>
            <a:lumOff val="993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u="sng" kern="1200" dirty="0"/>
            <a:t>Quality Improvement:</a:t>
          </a:r>
          <a:r>
            <a:rPr lang="en-US" sz="1100" kern="1200" dirty="0"/>
            <a:t> Barriers to </a:t>
          </a:r>
          <a:r>
            <a:rPr lang="en-US" sz="1100" b="1" kern="1200" dirty="0"/>
            <a:t>Flu vaccination </a:t>
          </a:r>
          <a:r>
            <a:rPr lang="en-US" sz="1100" kern="1200" dirty="0"/>
            <a:t>Best practice advisory, MIXED METHODS, Sedation</a:t>
          </a:r>
        </a:p>
      </dsp:txBody>
      <dsp:txXfrm>
        <a:off x="20419" y="1803349"/>
        <a:ext cx="8341162" cy="377437"/>
      </dsp:txXfrm>
    </dsp:sp>
    <dsp:sp modelId="{309D2BBA-A85F-4451-8271-13D85769D7CB}">
      <dsp:nvSpPr>
        <dsp:cNvPr id="0" name=""/>
        <dsp:cNvSpPr/>
      </dsp:nvSpPr>
      <dsp:spPr>
        <a:xfrm>
          <a:off x="0" y="2232885"/>
          <a:ext cx="8382000" cy="418275"/>
        </a:xfrm>
        <a:prstGeom prst="roundRect">
          <a:avLst/>
        </a:prstGeom>
        <a:solidFill>
          <a:schemeClr val="accent2">
            <a:hueOff val="-6895715"/>
            <a:satOff val="-12926"/>
            <a:lumOff val="13246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u="sng" kern="1200" dirty="0"/>
            <a:t>Disparities: RETROSPECTIVE </a:t>
          </a:r>
          <a:r>
            <a:rPr lang="en-US" sz="1100" b="1" kern="1200" dirty="0"/>
            <a:t> P</a:t>
          </a:r>
          <a:r>
            <a:rPr lang="en-US" sz="1100" kern="1200" dirty="0"/>
            <a:t>ediatric </a:t>
          </a:r>
          <a:r>
            <a:rPr lang="en-US" sz="1100" b="1" kern="1200" dirty="0"/>
            <a:t>submersions</a:t>
          </a:r>
          <a:r>
            <a:rPr lang="en-US" sz="1100" kern="1200" dirty="0"/>
            <a:t> and safety violations in city swimming pools, Demographic Discordances Between Patient Reported and Electronic Medical Records </a:t>
          </a:r>
        </a:p>
      </dsp:txBody>
      <dsp:txXfrm>
        <a:off x="20419" y="2253304"/>
        <a:ext cx="8341162" cy="377437"/>
      </dsp:txXfrm>
    </dsp:sp>
    <dsp:sp modelId="{C90E5CF5-2264-4E87-8120-16B9B66FF2A9}">
      <dsp:nvSpPr>
        <dsp:cNvPr id="0" name=""/>
        <dsp:cNvSpPr/>
      </dsp:nvSpPr>
      <dsp:spPr>
        <a:xfrm>
          <a:off x="0" y="2682840"/>
          <a:ext cx="8382000" cy="418275"/>
        </a:xfrm>
        <a:prstGeom prst="roundRect">
          <a:avLst/>
        </a:prstGeom>
        <a:solidFill>
          <a:schemeClr val="accent2">
            <a:hueOff val="-8619644"/>
            <a:satOff val="-16158"/>
            <a:lumOff val="16558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u="sng" kern="1200" dirty="0"/>
            <a:t>EMS:</a:t>
          </a:r>
          <a:r>
            <a:rPr lang="en-US" sz="1100" b="1" kern="1200" dirty="0"/>
            <a:t> </a:t>
          </a:r>
          <a:r>
            <a:rPr lang="en-US" sz="1100" kern="1200" dirty="0"/>
            <a:t>Prehospital administration of steroids, Mixed-methods study on adherence to </a:t>
          </a:r>
          <a:r>
            <a:rPr lang="en-US" sz="1100" b="1" kern="1200" dirty="0"/>
            <a:t>pediatric seizure protocols </a:t>
          </a:r>
          <a:r>
            <a:rPr lang="en-US" sz="1100" kern="1200" dirty="0"/>
            <a:t>QUALITATIVE, Weight Tools</a:t>
          </a:r>
        </a:p>
      </dsp:txBody>
      <dsp:txXfrm>
        <a:off x="20419" y="2703259"/>
        <a:ext cx="8341162" cy="377437"/>
      </dsp:txXfrm>
    </dsp:sp>
    <dsp:sp modelId="{207C40BD-9420-42D9-B962-CB0E71E67067}">
      <dsp:nvSpPr>
        <dsp:cNvPr id="0" name=""/>
        <dsp:cNvSpPr/>
      </dsp:nvSpPr>
      <dsp:spPr>
        <a:xfrm>
          <a:off x="0" y="3132794"/>
          <a:ext cx="8382000" cy="418275"/>
        </a:xfrm>
        <a:prstGeom prst="roundRect">
          <a:avLst/>
        </a:prstGeom>
        <a:solidFill>
          <a:schemeClr val="accent2">
            <a:hueOff val="-10343573"/>
            <a:satOff val="-19389"/>
            <a:lumOff val="1986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u="sng" kern="1200" dirty="0"/>
            <a:t>POCUS:</a:t>
          </a:r>
          <a:r>
            <a:rPr lang="en-US" sz="1100" kern="1200" dirty="0"/>
            <a:t> POCUS </a:t>
          </a:r>
          <a:r>
            <a:rPr lang="en-US" sz="1100" b="1" u="sng" kern="1200" dirty="0"/>
            <a:t>inferior vena cava </a:t>
          </a:r>
          <a:r>
            <a:rPr lang="en-US" sz="1100" kern="1200" dirty="0"/>
            <a:t>(IVC) measurements to assess the severity of the patient’s </a:t>
          </a:r>
          <a:r>
            <a:rPr lang="en-US" sz="1100" kern="1200" dirty="0" err="1"/>
            <a:t>dehydration;</a:t>
          </a:r>
          <a:r>
            <a:rPr lang="en-US" sz="1100" b="1" u="sng" kern="1200" dirty="0" err="1"/>
            <a:t>“Development</a:t>
          </a:r>
          <a:r>
            <a:rPr lang="en-US" sz="1100" b="1" u="sng" kern="1200" dirty="0"/>
            <a:t> and Implementation of a Novel Point-of-Care Ultrasound Training for Pediatric Providers in Malawi” COVID and POCUS</a:t>
          </a:r>
          <a:endParaRPr lang="en-US" sz="1100" kern="1200" dirty="0"/>
        </a:p>
      </dsp:txBody>
      <dsp:txXfrm>
        <a:off x="20419" y="3153213"/>
        <a:ext cx="8341162" cy="377437"/>
      </dsp:txXfrm>
    </dsp:sp>
    <dsp:sp modelId="{C292E38D-24E4-4B54-8C3D-BEFC54F3A7AC}">
      <dsp:nvSpPr>
        <dsp:cNvPr id="0" name=""/>
        <dsp:cNvSpPr/>
      </dsp:nvSpPr>
      <dsp:spPr>
        <a:xfrm>
          <a:off x="0" y="3582750"/>
          <a:ext cx="8382000" cy="418275"/>
        </a:xfrm>
        <a:prstGeom prst="roundRect">
          <a:avLst/>
        </a:prstGeom>
        <a:solidFill>
          <a:schemeClr val="accent2">
            <a:hueOff val="-12067502"/>
            <a:satOff val="-22621"/>
            <a:lumOff val="2318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u="sng" kern="1200"/>
            <a:t>Global Health: </a:t>
          </a:r>
          <a:r>
            <a:rPr lang="en-US" sz="1100" kern="1200"/>
            <a:t>Pediatric tropical infectious diseases in emergency medicine utilizing the </a:t>
          </a:r>
          <a:r>
            <a:rPr lang="en-US" sz="1100" b="1" kern="1200"/>
            <a:t>MODIFIED DELPHI METHOD</a:t>
          </a:r>
          <a:r>
            <a:rPr lang="en-US" sz="1100" kern="1200"/>
            <a:t>, Healthcare Provider Attitudes Toward the </a:t>
          </a:r>
          <a:r>
            <a:rPr lang="en-US" sz="1100" b="1" kern="1200"/>
            <a:t>Emergency Triage System in Belize  </a:t>
          </a:r>
          <a:endParaRPr lang="en-US" sz="1100" kern="1200"/>
        </a:p>
      </dsp:txBody>
      <dsp:txXfrm>
        <a:off x="20419" y="3603169"/>
        <a:ext cx="8341162" cy="377437"/>
      </dsp:txXfrm>
    </dsp:sp>
    <dsp:sp modelId="{268179BE-3227-4842-997B-D64FC4E44F02}">
      <dsp:nvSpPr>
        <dsp:cNvPr id="0" name=""/>
        <dsp:cNvSpPr/>
      </dsp:nvSpPr>
      <dsp:spPr>
        <a:xfrm>
          <a:off x="0" y="4032705"/>
          <a:ext cx="8382000" cy="418275"/>
        </a:xfrm>
        <a:prstGeom prst="roundRect">
          <a:avLst/>
        </a:prstGeom>
        <a:solidFill>
          <a:schemeClr val="accent2">
            <a:hueOff val="-13791431"/>
            <a:satOff val="-25852"/>
            <a:lumOff val="2649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u="sng" kern="1200" dirty="0"/>
            <a:t>EDUCATION, SIMULATION- RCDP, Debriefing Tools, PEM Fellow Procedures; Essential components for debriefing pediatric residents returning from global health experiences</a:t>
          </a:r>
          <a:endParaRPr lang="en-US" sz="1100" kern="1200" dirty="0"/>
        </a:p>
      </dsp:txBody>
      <dsp:txXfrm>
        <a:off x="20419" y="4053124"/>
        <a:ext cx="8341162" cy="377437"/>
      </dsp:txXfrm>
    </dsp:sp>
    <dsp:sp modelId="{E81FAB34-C886-41C2-B743-C36D3EAF1C96}">
      <dsp:nvSpPr>
        <dsp:cNvPr id="0" name=""/>
        <dsp:cNvSpPr/>
      </dsp:nvSpPr>
      <dsp:spPr>
        <a:xfrm>
          <a:off x="0" y="4482660"/>
          <a:ext cx="8382000" cy="418275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Infectious Disease</a:t>
          </a:r>
          <a:r>
            <a:rPr lang="en-US" sz="1100" kern="1200" dirty="0"/>
            <a:t>: Neonatal FEVER, RRTs </a:t>
          </a:r>
        </a:p>
      </dsp:txBody>
      <dsp:txXfrm>
        <a:off x="20419" y="4503079"/>
        <a:ext cx="8341162" cy="377437"/>
      </dsp:txXfrm>
    </dsp:sp>
  </dsp:spTree>
</dsp:drawing>
</file>

<file path=ppt/diagrams/drawing3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2BF914-81B9-477A-86C8-3CBE853CFB59}">
      <dsp:nvSpPr>
        <dsp:cNvPr id="0" name=""/>
        <dsp:cNvSpPr/>
      </dsp:nvSpPr>
      <dsp:spPr>
        <a:xfrm>
          <a:off x="0" y="76200"/>
          <a:ext cx="7620000" cy="111969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360 evaluations-peer, self, outside rotations, procedural, PEM </a:t>
          </a:r>
        </a:p>
      </dsp:txBody>
      <dsp:txXfrm>
        <a:off x="54659" y="130859"/>
        <a:ext cx="7510682" cy="1010372"/>
      </dsp:txXfrm>
    </dsp:sp>
    <dsp:sp modelId="{E4CD91DF-E81C-4A23-94B2-6D26E1EE0564}">
      <dsp:nvSpPr>
        <dsp:cNvPr id="0" name=""/>
        <dsp:cNvSpPr/>
      </dsp:nvSpPr>
      <dsp:spPr>
        <a:xfrm>
          <a:off x="0" y="1371599"/>
          <a:ext cx="7620000" cy="111969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Progress monitored monthly, quarterly, and semi-annually</a:t>
          </a:r>
          <a:endParaRPr lang="en-US" sz="2900" kern="1200" dirty="0"/>
        </a:p>
      </dsp:txBody>
      <dsp:txXfrm>
        <a:off x="54659" y="1426258"/>
        <a:ext cx="7510682" cy="1010372"/>
      </dsp:txXfrm>
    </dsp:sp>
    <dsp:sp modelId="{C0DE6106-0F39-4BEC-B3CA-4FE0EDF5303A}">
      <dsp:nvSpPr>
        <dsp:cNvPr id="0" name=""/>
        <dsp:cNvSpPr/>
      </dsp:nvSpPr>
      <dsp:spPr>
        <a:xfrm>
          <a:off x="0" y="2369265"/>
          <a:ext cx="7620000" cy="4802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935" tIns="36830" rIns="206248" bIns="36830" numCol="1" spcCol="1270" anchor="t" anchorCtr="0">
          <a:noAutofit/>
        </a:bodyPr>
        <a:lstStyle/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300" kern="1200" dirty="0">
            <a:solidFill>
              <a:schemeClr val="bg1"/>
            </a:solidFill>
          </a:endParaRPr>
        </a:p>
      </dsp:txBody>
      <dsp:txXfrm>
        <a:off x="0" y="2369265"/>
        <a:ext cx="7620000" cy="480240"/>
      </dsp:txXfrm>
    </dsp:sp>
    <dsp:sp modelId="{EA1FC554-5F21-46E9-A7E1-FD0D1815FBBB}">
      <dsp:nvSpPr>
        <dsp:cNvPr id="0" name=""/>
        <dsp:cNvSpPr/>
      </dsp:nvSpPr>
      <dsp:spPr>
        <a:xfrm>
          <a:off x="0" y="2633526"/>
          <a:ext cx="7620000" cy="111969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Evaluated on all core competencies for PEM</a:t>
          </a:r>
          <a:endParaRPr lang="en-US" sz="2900" kern="1200" dirty="0"/>
        </a:p>
      </dsp:txBody>
      <dsp:txXfrm>
        <a:off x="54659" y="2688185"/>
        <a:ext cx="7510682" cy="1010372"/>
      </dsp:txXfrm>
    </dsp:sp>
    <dsp:sp modelId="{1A4F0C9E-739D-4E96-ACF2-D2F7DE10962B}">
      <dsp:nvSpPr>
        <dsp:cNvPr id="0" name=""/>
        <dsp:cNvSpPr/>
      </dsp:nvSpPr>
      <dsp:spPr>
        <a:xfrm>
          <a:off x="0" y="3969195"/>
          <a:ext cx="7620000" cy="4802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935" tIns="36830" rIns="206248" bIns="36830" numCol="1" spcCol="1270" anchor="t" anchorCtr="0">
          <a:noAutofit/>
        </a:bodyPr>
        <a:lstStyle/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300" kern="1200" dirty="0">
            <a:solidFill>
              <a:schemeClr val="bg1"/>
            </a:solidFill>
          </a:endParaRPr>
        </a:p>
      </dsp:txBody>
      <dsp:txXfrm>
        <a:off x="0" y="3969195"/>
        <a:ext cx="7620000" cy="480240"/>
      </dsp:txXfrm>
    </dsp:sp>
  </dsp:spTree>
</dsp:drawing>
</file>

<file path=ppt/diagrams/drawing3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B0D3A2-96F0-40AA-8254-B550B4B00DC5}">
      <dsp:nvSpPr>
        <dsp:cNvPr id="0" name=""/>
        <dsp:cNvSpPr/>
      </dsp:nvSpPr>
      <dsp:spPr>
        <a:xfrm>
          <a:off x="0" y="226229"/>
          <a:ext cx="7467600" cy="84942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1</a:t>
          </a:r>
          <a:r>
            <a:rPr lang="en-US" sz="2200" kern="1200" baseline="30000"/>
            <a:t>st</a:t>
          </a:r>
          <a:r>
            <a:rPr lang="en-US" sz="2200" kern="1200"/>
            <a:t> years can start moonlighting after 2 quarterly evaluations cycles complete and competency ascertained</a:t>
          </a:r>
          <a:endParaRPr lang="en-US" sz="2200" kern="1200" dirty="0"/>
        </a:p>
      </dsp:txBody>
      <dsp:txXfrm>
        <a:off x="41465" y="267694"/>
        <a:ext cx="7384670" cy="766490"/>
      </dsp:txXfrm>
    </dsp:sp>
    <dsp:sp modelId="{EAF70F22-72BC-4663-941B-23D2D50FE9B6}">
      <dsp:nvSpPr>
        <dsp:cNvPr id="0" name=""/>
        <dsp:cNvSpPr/>
      </dsp:nvSpPr>
      <dsp:spPr>
        <a:xfrm>
          <a:off x="0" y="1139009"/>
          <a:ext cx="7467600" cy="849420"/>
        </a:xfrm>
        <a:prstGeom prst="roundRect">
          <a:avLst/>
        </a:prstGeom>
        <a:solidFill>
          <a:schemeClr val="accent2">
            <a:hueOff val="-3878840"/>
            <a:satOff val="-7271"/>
            <a:lumOff val="745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TX license, DEA and DPS numbers</a:t>
          </a:r>
        </a:p>
      </dsp:txBody>
      <dsp:txXfrm>
        <a:off x="41465" y="1180474"/>
        <a:ext cx="7384670" cy="766490"/>
      </dsp:txXfrm>
    </dsp:sp>
    <dsp:sp modelId="{1FB515F5-AEB1-4772-B96D-BD47F4464C22}">
      <dsp:nvSpPr>
        <dsp:cNvPr id="0" name=""/>
        <dsp:cNvSpPr/>
      </dsp:nvSpPr>
      <dsp:spPr>
        <a:xfrm>
          <a:off x="0" y="2051789"/>
          <a:ext cx="7467600" cy="849420"/>
        </a:xfrm>
        <a:prstGeom prst="roundRect">
          <a:avLst/>
        </a:prstGeom>
        <a:solidFill>
          <a:schemeClr val="accent2">
            <a:hueOff val="-7757680"/>
            <a:satOff val="-14542"/>
            <a:lumOff val="1490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Hospital credentialing papers and GME moonlighting approval must be obtained</a:t>
          </a:r>
        </a:p>
      </dsp:txBody>
      <dsp:txXfrm>
        <a:off x="41465" y="2093254"/>
        <a:ext cx="7384670" cy="766490"/>
      </dsp:txXfrm>
    </dsp:sp>
    <dsp:sp modelId="{D709E3EB-DBF1-4515-846A-10A4F740A216}">
      <dsp:nvSpPr>
        <dsp:cNvPr id="0" name=""/>
        <dsp:cNvSpPr/>
      </dsp:nvSpPr>
      <dsp:spPr>
        <a:xfrm>
          <a:off x="0" y="2964570"/>
          <a:ext cx="7467600" cy="849420"/>
        </a:xfrm>
        <a:prstGeom prst="roundRect">
          <a:avLst/>
        </a:prstGeom>
        <a:solidFill>
          <a:schemeClr val="accent2">
            <a:hueOff val="-11636519"/>
            <a:satOff val="-21813"/>
            <a:lumOff val="2235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Prior to completion of 2136 required clinical hours: moonlight only at non training sites</a:t>
          </a:r>
          <a:endParaRPr lang="en-US" sz="2200" kern="1200" dirty="0"/>
        </a:p>
      </dsp:txBody>
      <dsp:txXfrm>
        <a:off x="41465" y="3006035"/>
        <a:ext cx="7384670" cy="766490"/>
      </dsp:txXfrm>
    </dsp:sp>
    <dsp:sp modelId="{DCA2A9DD-42B1-4AB4-BF30-B2A748FC35A8}">
      <dsp:nvSpPr>
        <dsp:cNvPr id="0" name=""/>
        <dsp:cNvSpPr/>
      </dsp:nvSpPr>
      <dsp:spPr>
        <a:xfrm>
          <a:off x="0" y="3877350"/>
          <a:ext cx="7467600" cy="849420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After completion of 2136 hours, moonlight anywhere </a:t>
          </a:r>
          <a:endParaRPr lang="en-US" sz="2200" kern="1200" dirty="0"/>
        </a:p>
      </dsp:txBody>
      <dsp:txXfrm>
        <a:off x="41465" y="3918815"/>
        <a:ext cx="7384670" cy="76649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A4CA07-4AC9-4066-9B0B-3063656C94C1}">
      <dsp:nvSpPr>
        <dsp:cNvPr id="0" name=""/>
        <dsp:cNvSpPr/>
      </dsp:nvSpPr>
      <dsp:spPr>
        <a:xfrm rot="5400000">
          <a:off x="4139358" y="-1699641"/>
          <a:ext cx="633635" cy="419404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750-bed children's hospital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25,966 admissions in the most recent year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9,053 annual inpatient and 16,216 outpatient surgeries</a:t>
          </a:r>
        </a:p>
      </dsp:txBody>
      <dsp:txXfrm rot="-5400000">
        <a:off x="2359152" y="111497"/>
        <a:ext cx="4163116" cy="571771"/>
      </dsp:txXfrm>
    </dsp:sp>
    <dsp:sp modelId="{2D85E48D-2C90-4846-BC49-D078A30CD256}">
      <dsp:nvSpPr>
        <dsp:cNvPr id="0" name=""/>
        <dsp:cNvSpPr/>
      </dsp:nvSpPr>
      <dsp:spPr>
        <a:xfrm>
          <a:off x="0" y="1360"/>
          <a:ext cx="2359152" cy="79204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Main Campus</a:t>
          </a:r>
        </a:p>
      </dsp:txBody>
      <dsp:txXfrm>
        <a:off x="38664" y="40024"/>
        <a:ext cx="2281824" cy="714716"/>
      </dsp:txXfrm>
    </dsp:sp>
    <dsp:sp modelId="{5F07C79F-C294-47C7-87A7-94CB1EC57DB4}">
      <dsp:nvSpPr>
        <dsp:cNvPr id="0" name=""/>
        <dsp:cNvSpPr/>
      </dsp:nvSpPr>
      <dsp:spPr>
        <a:xfrm rot="5400000">
          <a:off x="4139358" y="-867994"/>
          <a:ext cx="633635" cy="419404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Comprehensive obstetrics/gynecology facility focusing on high-risk births, fetal surgery</a:t>
          </a:r>
        </a:p>
      </dsp:txBody>
      <dsp:txXfrm rot="-5400000">
        <a:off x="2359152" y="943144"/>
        <a:ext cx="4163116" cy="571771"/>
      </dsp:txXfrm>
    </dsp:sp>
    <dsp:sp modelId="{8E02DB11-6933-4AF4-A64F-09F892F85775}">
      <dsp:nvSpPr>
        <dsp:cNvPr id="0" name=""/>
        <dsp:cNvSpPr/>
      </dsp:nvSpPr>
      <dsp:spPr>
        <a:xfrm>
          <a:off x="0" y="833007"/>
          <a:ext cx="2359152" cy="79204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Pavilion for Women</a:t>
          </a:r>
        </a:p>
      </dsp:txBody>
      <dsp:txXfrm>
        <a:off x="38664" y="871671"/>
        <a:ext cx="2281824" cy="714716"/>
      </dsp:txXfrm>
    </dsp:sp>
    <dsp:sp modelId="{7869C710-A024-4BE3-97A4-A68A7C6C5892}">
      <dsp:nvSpPr>
        <dsp:cNvPr id="0" name=""/>
        <dsp:cNvSpPr/>
      </dsp:nvSpPr>
      <dsp:spPr>
        <a:xfrm rot="5400000">
          <a:off x="4139358" y="-36347"/>
          <a:ext cx="633635" cy="419404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Community hospital in suburban West Houston</a:t>
          </a:r>
        </a:p>
      </dsp:txBody>
      <dsp:txXfrm rot="-5400000">
        <a:off x="2359152" y="1774791"/>
        <a:ext cx="4163116" cy="571771"/>
      </dsp:txXfrm>
    </dsp:sp>
    <dsp:sp modelId="{F5B8E85C-26C4-4C41-AC28-9B218897DA40}">
      <dsp:nvSpPr>
        <dsp:cNvPr id="0" name=""/>
        <dsp:cNvSpPr/>
      </dsp:nvSpPr>
      <dsp:spPr>
        <a:xfrm>
          <a:off x="0" y="1664654"/>
          <a:ext cx="2359152" cy="79204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West Campus</a:t>
          </a:r>
        </a:p>
      </dsp:txBody>
      <dsp:txXfrm>
        <a:off x="38664" y="1703318"/>
        <a:ext cx="2281824" cy="714716"/>
      </dsp:txXfrm>
    </dsp:sp>
    <dsp:sp modelId="{77E99506-5F26-489B-B6FA-3F56C3CA4C80}">
      <dsp:nvSpPr>
        <dsp:cNvPr id="0" name=""/>
        <dsp:cNvSpPr/>
      </dsp:nvSpPr>
      <dsp:spPr>
        <a:xfrm rot="5400000">
          <a:off x="4139358" y="795299"/>
          <a:ext cx="633635" cy="419404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Community hospital in suburban North Houston</a:t>
          </a:r>
        </a:p>
      </dsp:txBody>
      <dsp:txXfrm rot="-5400000">
        <a:off x="2359152" y="2606437"/>
        <a:ext cx="4163116" cy="571771"/>
      </dsp:txXfrm>
    </dsp:sp>
    <dsp:sp modelId="{060CCD14-AFB0-4DBA-B4FB-9D05675DBE43}">
      <dsp:nvSpPr>
        <dsp:cNvPr id="0" name=""/>
        <dsp:cNvSpPr/>
      </dsp:nvSpPr>
      <dsp:spPr>
        <a:xfrm>
          <a:off x="0" y="2496301"/>
          <a:ext cx="2359152" cy="79204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The Woodlands</a:t>
          </a:r>
        </a:p>
      </dsp:txBody>
      <dsp:txXfrm>
        <a:off x="38664" y="2534965"/>
        <a:ext cx="2281824" cy="714716"/>
      </dsp:txXfrm>
    </dsp:sp>
    <dsp:sp modelId="{DAC9A94B-1E6C-4C94-9B01-542A07185B2F}">
      <dsp:nvSpPr>
        <dsp:cNvPr id="0" name=""/>
        <dsp:cNvSpPr/>
      </dsp:nvSpPr>
      <dsp:spPr>
        <a:xfrm rot="5400000">
          <a:off x="4139358" y="1626946"/>
          <a:ext cx="633635" cy="419404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1" kern="1200" dirty="0"/>
            <a:t>Critical care and surgical tower constructed in 2018</a:t>
          </a:r>
        </a:p>
      </dsp:txBody>
      <dsp:txXfrm rot="-5400000">
        <a:off x="2359152" y="3438084"/>
        <a:ext cx="4163116" cy="571771"/>
      </dsp:txXfrm>
    </dsp:sp>
    <dsp:sp modelId="{60AF01A4-78BD-4C5B-B1EC-7E6DB904E8E2}">
      <dsp:nvSpPr>
        <dsp:cNvPr id="0" name=""/>
        <dsp:cNvSpPr/>
      </dsp:nvSpPr>
      <dsp:spPr>
        <a:xfrm>
          <a:off x="0" y="3327948"/>
          <a:ext cx="2359152" cy="79204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Legacy Tower</a:t>
          </a:r>
        </a:p>
      </dsp:txBody>
      <dsp:txXfrm>
        <a:off x="38664" y="3366612"/>
        <a:ext cx="2281824" cy="714716"/>
      </dsp:txXfrm>
    </dsp:sp>
    <dsp:sp modelId="{4099DCBA-7D54-40A7-A36D-D95CCF40EE49}">
      <dsp:nvSpPr>
        <dsp:cNvPr id="0" name=""/>
        <dsp:cNvSpPr/>
      </dsp:nvSpPr>
      <dsp:spPr>
        <a:xfrm>
          <a:off x="0" y="4159594"/>
          <a:ext cx="2359152" cy="79204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Feigin Center for Pediatric Research</a:t>
          </a:r>
          <a:endParaRPr lang="en-US" sz="2200" b="1" kern="1200" dirty="0"/>
        </a:p>
      </dsp:txBody>
      <dsp:txXfrm>
        <a:off x="38664" y="4198258"/>
        <a:ext cx="2281824" cy="71471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317E8D-FE22-4DEF-9104-6ABBE5C967D8}">
      <dsp:nvSpPr>
        <dsp:cNvPr id="0" name=""/>
        <dsp:cNvSpPr/>
      </dsp:nvSpPr>
      <dsp:spPr>
        <a:xfrm>
          <a:off x="2860081" y="152176"/>
          <a:ext cx="4968013" cy="105111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Main Fellowship Training Site</a:t>
          </a:r>
        </a:p>
      </dsp:txBody>
      <dsp:txXfrm>
        <a:off x="2911392" y="203487"/>
        <a:ext cx="4865391" cy="948491"/>
      </dsp:txXfrm>
    </dsp:sp>
    <dsp:sp modelId="{85147625-4CE7-49C4-9D1B-C066CBE13BBA}">
      <dsp:nvSpPr>
        <dsp:cNvPr id="0" name=""/>
        <dsp:cNvSpPr/>
      </dsp:nvSpPr>
      <dsp:spPr>
        <a:xfrm rot="5400000">
          <a:off x="4786539" y="-1587272"/>
          <a:ext cx="1013038" cy="6632592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b="1" kern="1200" dirty="0"/>
            <a:t>Level 1 pediatric trauma center</a:t>
          </a:r>
          <a:endParaRPr lang="en-US" sz="1400" b="1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Largest pediatric emergency center in the region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50+ beds (North, South)</a:t>
          </a:r>
        </a:p>
      </dsp:txBody>
      <dsp:txXfrm rot="-5400000">
        <a:off x="1976762" y="1271957"/>
        <a:ext cx="6583140" cy="914134"/>
      </dsp:txXfrm>
    </dsp:sp>
    <dsp:sp modelId="{4390FAB9-F659-42CD-9318-0E2FFE7C8508}">
      <dsp:nvSpPr>
        <dsp:cNvPr id="0" name=""/>
        <dsp:cNvSpPr/>
      </dsp:nvSpPr>
      <dsp:spPr>
        <a:xfrm>
          <a:off x="1245" y="1230548"/>
          <a:ext cx="1975517" cy="99694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    </a:t>
          </a:r>
          <a:r>
            <a:rPr lang="en-US" sz="2400" b="1" kern="1200" dirty="0"/>
            <a:t>Emergency Center</a:t>
          </a:r>
        </a:p>
      </dsp:txBody>
      <dsp:txXfrm>
        <a:off x="49912" y="1279215"/>
        <a:ext cx="1878183" cy="899615"/>
      </dsp:txXfrm>
    </dsp:sp>
    <dsp:sp modelId="{E7C716BA-B55D-4D79-9779-C41E5455607D}">
      <dsp:nvSpPr>
        <dsp:cNvPr id="0" name=""/>
        <dsp:cNvSpPr/>
      </dsp:nvSpPr>
      <dsp:spPr>
        <a:xfrm rot="5400000">
          <a:off x="3541938" y="880491"/>
          <a:ext cx="3536665" cy="6588061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High Acuity Operating Rooms  </a:t>
          </a:r>
          <a:endParaRPr lang="en-US" sz="1400" kern="1200" dirty="0"/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6 ORs for neurosurgery, orthopedics, plastic, transplant, general surgery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Integrated MRI scanner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Pediatric Intensive Care Units </a:t>
          </a:r>
          <a:endParaRPr lang="en-US" sz="1400" kern="1200" dirty="0"/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4 Pediatric ICU floors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ubspecialty PICUs including dedicated neuro-ICU and Surgical ICU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84</a:t>
          </a:r>
          <a:r>
            <a:rPr lang="en-US" sz="1400" kern="1200" dirty="0"/>
            <a:t> large private PICU rooms 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Heart Center</a:t>
          </a:r>
          <a:endParaRPr lang="en-US" sz="1400" kern="1200" dirty="0"/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8 floors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4 cardiac catheterization labs including integrated MRI scanner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4 cardiovascular ORs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3 cardiovascular ICU floors with </a:t>
          </a:r>
          <a:r>
            <a:rPr lang="en-US" sz="1400" b="1" kern="1200" dirty="0"/>
            <a:t>48</a:t>
          </a:r>
          <a:r>
            <a:rPr lang="en-US" sz="1400" kern="1200" dirty="0"/>
            <a:t> private rooms</a:t>
          </a:r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2 cardiac acute care floors with </a:t>
          </a:r>
          <a:r>
            <a:rPr lang="en-US" sz="1400" b="1" kern="1200" dirty="0"/>
            <a:t>42</a:t>
          </a:r>
          <a:r>
            <a:rPr lang="en-US" sz="1400" kern="1200" dirty="0"/>
            <a:t> private patient rooms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 dirty="0"/>
            <a:t>Helistop </a:t>
          </a:r>
          <a:endParaRPr lang="en-US" sz="1400" kern="1200" dirty="0"/>
        </a:p>
        <a:p>
          <a:pPr marL="228600" lvl="2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Enables transport of critically ill patients</a:t>
          </a:r>
        </a:p>
      </dsp:txBody>
      <dsp:txXfrm rot="-5400000">
        <a:off x="2016240" y="2578835"/>
        <a:ext cx="6415415" cy="3191373"/>
      </dsp:txXfrm>
    </dsp:sp>
    <dsp:sp modelId="{36DA6281-FA3C-4308-AFCD-1767CA5D7DF2}">
      <dsp:nvSpPr>
        <dsp:cNvPr id="0" name=""/>
        <dsp:cNvSpPr/>
      </dsp:nvSpPr>
      <dsp:spPr>
        <a:xfrm>
          <a:off x="0" y="2438400"/>
          <a:ext cx="2014995" cy="347237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Legacy Tower</a:t>
          </a:r>
        </a:p>
      </dsp:txBody>
      <dsp:txXfrm>
        <a:off x="98364" y="2536764"/>
        <a:ext cx="1818267" cy="327565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317E8D-FE22-4DEF-9104-6ABBE5C967D8}">
      <dsp:nvSpPr>
        <dsp:cNvPr id="0" name=""/>
        <dsp:cNvSpPr/>
      </dsp:nvSpPr>
      <dsp:spPr>
        <a:xfrm>
          <a:off x="1662831" y="0"/>
          <a:ext cx="4137905" cy="613038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Community Training Site</a:t>
          </a:r>
        </a:p>
      </dsp:txBody>
      <dsp:txXfrm>
        <a:off x="1692757" y="29926"/>
        <a:ext cx="4078053" cy="553186"/>
      </dsp:txXfrm>
    </dsp:sp>
    <dsp:sp modelId="{85147625-4CE7-49C4-9D1B-C066CBE13BBA}">
      <dsp:nvSpPr>
        <dsp:cNvPr id="0" name=""/>
        <dsp:cNvSpPr/>
      </dsp:nvSpPr>
      <dsp:spPr>
        <a:xfrm rot="5400000">
          <a:off x="4306859" y="-949165"/>
          <a:ext cx="1024056" cy="4535424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24 beds</a:t>
          </a:r>
        </a:p>
      </dsp:txBody>
      <dsp:txXfrm rot="-5400000">
        <a:off x="2551175" y="856509"/>
        <a:ext cx="4485434" cy="924076"/>
      </dsp:txXfrm>
    </dsp:sp>
    <dsp:sp modelId="{4390FAB9-F659-42CD-9318-0E2FFE7C8508}">
      <dsp:nvSpPr>
        <dsp:cNvPr id="0" name=""/>
        <dsp:cNvSpPr/>
      </dsp:nvSpPr>
      <dsp:spPr>
        <a:xfrm>
          <a:off x="0" y="678511"/>
          <a:ext cx="2551176" cy="1280070"/>
        </a:xfrm>
        <a:prstGeom prst="roundRect">
          <a:avLst/>
        </a:prstGeom>
        <a:solidFill>
          <a:schemeClr val="accent2">
            <a:hueOff val="-5171786"/>
            <a:satOff val="-9695"/>
            <a:lumOff val="993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 Emergency Center</a:t>
          </a:r>
        </a:p>
      </dsp:txBody>
      <dsp:txXfrm>
        <a:off x="62488" y="740999"/>
        <a:ext cx="2426200" cy="1155094"/>
      </dsp:txXfrm>
    </dsp:sp>
    <dsp:sp modelId="{E7C716BA-B55D-4D79-9779-C41E5455607D}">
      <dsp:nvSpPr>
        <dsp:cNvPr id="0" name=""/>
        <dsp:cNvSpPr/>
      </dsp:nvSpPr>
      <dsp:spPr>
        <a:xfrm rot="5400000">
          <a:off x="4306859" y="414028"/>
          <a:ext cx="1024056" cy="4535424"/>
        </a:xfrm>
        <a:prstGeom prst="round2SameRect">
          <a:avLst/>
        </a:prstGeom>
        <a:solidFill>
          <a:schemeClr val="accent2">
            <a:tint val="40000"/>
            <a:alpha val="90000"/>
            <a:hueOff val="-7917183"/>
            <a:satOff val="11206"/>
            <a:lumOff val="2414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-7917183"/>
              <a:satOff val="11206"/>
              <a:lumOff val="24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22 beds </a:t>
          </a:r>
        </a:p>
      </dsp:txBody>
      <dsp:txXfrm rot="-5400000">
        <a:off x="2551175" y="2219702"/>
        <a:ext cx="4485434" cy="924076"/>
      </dsp:txXfrm>
    </dsp:sp>
    <dsp:sp modelId="{36DA6281-FA3C-4308-AFCD-1767CA5D7DF2}">
      <dsp:nvSpPr>
        <dsp:cNvPr id="0" name=""/>
        <dsp:cNvSpPr/>
      </dsp:nvSpPr>
      <dsp:spPr>
        <a:xfrm>
          <a:off x="0" y="2022585"/>
          <a:ext cx="2551176" cy="1280070"/>
        </a:xfrm>
        <a:prstGeom prst="roundRect">
          <a:avLst/>
        </a:prstGeom>
        <a:solidFill>
          <a:schemeClr val="accent2">
            <a:hueOff val="-10343573"/>
            <a:satOff val="-19389"/>
            <a:lumOff val="1986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Pediatric Intensive Care Unit </a:t>
          </a:r>
        </a:p>
      </dsp:txBody>
      <dsp:txXfrm>
        <a:off x="62488" y="2085073"/>
        <a:ext cx="2426200" cy="1155094"/>
      </dsp:txXfrm>
    </dsp:sp>
    <dsp:sp modelId="{74DE595E-085B-4413-B480-40C71278253C}">
      <dsp:nvSpPr>
        <dsp:cNvPr id="0" name=""/>
        <dsp:cNvSpPr/>
      </dsp:nvSpPr>
      <dsp:spPr>
        <a:xfrm rot="5400000">
          <a:off x="4306859" y="1738983"/>
          <a:ext cx="1024056" cy="4535424"/>
        </a:xfrm>
        <a:prstGeom prst="round2SameRect">
          <a:avLst/>
        </a:prstGeom>
        <a:solidFill>
          <a:schemeClr val="accent2">
            <a:tint val="40000"/>
            <a:alpha val="90000"/>
            <a:hueOff val="-15834366"/>
            <a:satOff val="22413"/>
            <a:lumOff val="4827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-15834366"/>
              <a:satOff val="22413"/>
              <a:lumOff val="482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46 beds</a:t>
          </a:r>
        </a:p>
      </dsp:txBody>
      <dsp:txXfrm rot="-5400000">
        <a:off x="2551175" y="3544657"/>
        <a:ext cx="4485434" cy="924076"/>
      </dsp:txXfrm>
    </dsp:sp>
    <dsp:sp modelId="{E21D4320-6A66-4828-9A71-0E64A0C93F2B}">
      <dsp:nvSpPr>
        <dsp:cNvPr id="0" name=""/>
        <dsp:cNvSpPr/>
      </dsp:nvSpPr>
      <dsp:spPr>
        <a:xfrm>
          <a:off x="0" y="3366659"/>
          <a:ext cx="2551176" cy="1280070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Inpatient </a:t>
          </a:r>
        </a:p>
      </dsp:txBody>
      <dsp:txXfrm>
        <a:off x="62488" y="3429147"/>
        <a:ext cx="2426200" cy="115509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317E8D-FE22-4DEF-9104-6ABBE5C967D8}">
      <dsp:nvSpPr>
        <dsp:cNvPr id="0" name=""/>
        <dsp:cNvSpPr/>
      </dsp:nvSpPr>
      <dsp:spPr>
        <a:xfrm>
          <a:off x="1662831" y="0"/>
          <a:ext cx="4137905" cy="47553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Community Site</a:t>
          </a:r>
        </a:p>
      </dsp:txBody>
      <dsp:txXfrm>
        <a:off x="1686045" y="23214"/>
        <a:ext cx="4091477" cy="429111"/>
      </dsp:txXfrm>
    </dsp:sp>
    <dsp:sp modelId="{85147625-4CE7-49C4-9D1B-C066CBE13BBA}">
      <dsp:nvSpPr>
        <dsp:cNvPr id="0" name=""/>
        <dsp:cNvSpPr/>
      </dsp:nvSpPr>
      <dsp:spPr>
        <a:xfrm rot="5400000">
          <a:off x="4421702" y="-1244934"/>
          <a:ext cx="794370" cy="4535424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20 beds</a:t>
          </a:r>
        </a:p>
      </dsp:txBody>
      <dsp:txXfrm rot="-5400000">
        <a:off x="2551175" y="664371"/>
        <a:ext cx="4496646" cy="716814"/>
      </dsp:txXfrm>
    </dsp:sp>
    <dsp:sp modelId="{4390FAB9-F659-42CD-9318-0E2FFE7C8508}">
      <dsp:nvSpPr>
        <dsp:cNvPr id="0" name=""/>
        <dsp:cNvSpPr/>
      </dsp:nvSpPr>
      <dsp:spPr>
        <a:xfrm>
          <a:off x="0" y="526296"/>
          <a:ext cx="2551176" cy="992962"/>
        </a:xfrm>
        <a:prstGeom prst="roundRect">
          <a:avLst/>
        </a:prstGeom>
        <a:solidFill>
          <a:schemeClr val="accent2">
            <a:hueOff val="-3878840"/>
            <a:satOff val="-7271"/>
            <a:lumOff val="745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 Emergency Center</a:t>
          </a:r>
        </a:p>
      </dsp:txBody>
      <dsp:txXfrm>
        <a:off x="48472" y="574768"/>
        <a:ext cx="2454232" cy="896018"/>
      </dsp:txXfrm>
    </dsp:sp>
    <dsp:sp modelId="{E7C716BA-B55D-4D79-9779-C41E5455607D}">
      <dsp:nvSpPr>
        <dsp:cNvPr id="0" name=""/>
        <dsp:cNvSpPr/>
      </dsp:nvSpPr>
      <dsp:spPr>
        <a:xfrm rot="5400000">
          <a:off x="4421702" y="-187492"/>
          <a:ext cx="794370" cy="4535424"/>
        </a:xfrm>
        <a:prstGeom prst="round2SameRect">
          <a:avLst/>
        </a:prstGeom>
        <a:solidFill>
          <a:schemeClr val="accent2">
            <a:tint val="40000"/>
            <a:alpha val="90000"/>
            <a:hueOff val="-5278122"/>
            <a:satOff val="7471"/>
            <a:lumOff val="1609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-5278122"/>
              <a:satOff val="7471"/>
              <a:lumOff val="160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14 beds </a:t>
          </a:r>
        </a:p>
      </dsp:txBody>
      <dsp:txXfrm rot="-5400000">
        <a:off x="2551175" y="1721813"/>
        <a:ext cx="4496646" cy="716814"/>
      </dsp:txXfrm>
    </dsp:sp>
    <dsp:sp modelId="{36DA6281-FA3C-4308-AFCD-1767CA5D7DF2}">
      <dsp:nvSpPr>
        <dsp:cNvPr id="0" name=""/>
        <dsp:cNvSpPr/>
      </dsp:nvSpPr>
      <dsp:spPr>
        <a:xfrm>
          <a:off x="0" y="1568907"/>
          <a:ext cx="2551176" cy="992962"/>
        </a:xfrm>
        <a:prstGeom prst="roundRect">
          <a:avLst/>
        </a:prstGeom>
        <a:solidFill>
          <a:schemeClr val="accent2">
            <a:hueOff val="-7757680"/>
            <a:satOff val="-14542"/>
            <a:lumOff val="1490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Pediatric Intensive Care Unit </a:t>
          </a:r>
        </a:p>
      </dsp:txBody>
      <dsp:txXfrm>
        <a:off x="48472" y="1617379"/>
        <a:ext cx="2454232" cy="896018"/>
      </dsp:txXfrm>
    </dsp:sp>
    <dsp:sp modelId="{74DE595E-085B-4413-B480-40C71278253C}">
      <dsp:nvSpPr>
        <dsp:cNvPr id="0" name=""/>
        <dsp:cNvSpPr/>
      </dsp:nvSpPr>
      <dsp:spPr>
        <a:xfrm rot="5400000">
          <a:off x="4421702" y="840287"/>
          <a:ext cx="794370" cy="4535424"/>
        </a:xfrm>
        <a:prstGeom prst="round2SameRect">
          <a:avLst/>
        </a:prstGeom>
        <a:solidFill>
          <a:schemeClr val="accent2">
            <a:tint val="40000"/>
            <a:alpha val="90000"/>
            <a:hueOff val="-10556245"/>
            <a:satOff val="14942"/>
            <a:lumOff val="3218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-10556245"/>
              <a:satOff val="14942"/>
              <a:lumOff val="321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32 beds</a:t>
          </a:r>
        </a:p>
      </dsp:txBody>
      <dsp:txXfrm rot="-5400000">
        <a:off x="2551175" y="2749592"/>
        <a:ext cx="4496646" cy="716814"/>
      </dsp:txXfrm>
    </dsp:sp>
    <dsp:sp modelId="{E21D4320-6A66-4828-9A71-0E64A0C93F2B}">
      <dsp:nvSpPr>
        <dsp:cNvPr id="0" name=""/>
        <dsp:cNvSpPr/>
      </dsp:nvSpPr>
      <dsp:spPr>
        <a:xfrm>
          <a:off x="0" y="2611518"/>
          <a:ext cx="2551176" cy="992962"/>
        </a:xfrm>
        <a:prstGeom prst="roundRect">
          <a:avLst/>
        </a:prstGeom>
        <a:solidFill>
          <a:schemeClr val="accent2">
            <a:hueOff val="-11636519"/>
            <a:satOff val="-21813"/>
            <a:lumOff val="2235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Inpatient </a:t>
          </a:r>
        </a:p>
      </dsp:txBody>
      <dsp:txXfrm>
        <a:off x="48472" y="2659990"/>
        <a:ext cx="2454232" cy="896018"/>
      </dsp:txXfrm>
    </dsp:sp>
    <dsp:sp modelId="{96A36EEA-9B3D-4F0A-A6BD-70E7966B7D2F}">
      <dsp:nvSpPr>
        <dsp:cNvPr id="0" name=""/>
        <dsp:cNvSpPr/>
      </dsp:nvSpPr>
      <dsp:spPr>
        <a:xfrm rot="5400000">
          <a:off x="4421702" y="1882898"/>
          <a:ext cx="794370" cy="4535424"/>
        </a:xfrm>
        <a:prstGeom prst="round2SameRect">
          <a:avLst/>
        </a:prstGeom>
        <a:solidFill>
          <a:schemeClr val="accent2">
            <a:tint val="40000"/>
            <a:alpha val="90000"/>
            <a:hueOff val="-15834366"/>
            <a:satOff val="22413"/>
            <a:lumOff val="4827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-15834366"/>
              <a:satOff val="22413"/>
              <a:lumOff val="482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1" kern="1200" dirty="0"/>
            <a:t>14</a:t>
          </a:r>
        </a:p>
      </dsp:txBody>
      <dsp:txXfrm rot="-5400000">
        <a:off x="2551175" y="3792203"/>
        <a:ext cx="4496646" cy="716814"/>
      </dsp:txXfrm>
    </dsp:sp>
    <dsp:sp modelId="{778BF0F2-08CB-46D9-B2D9-6C0E39F34A69}">
      <dsp:nvSpPr>
        <dsp:cNvPr id="0" name=""/>
        <dsp:cNvSpPr/>
      </dsp:nvSpPr>
      <dsp:spPr>
        <a:xfrm>
          <a:off x="0" y="3654128"/>
          <a:ext cx="2551176" cy="992962"/>
        </a:xfrm>
        <a:prstGeom prst="roundRect">
          <a:avLst/>
        </a:prstGeom>
        <a:solidFill>
          <a:schemeClr val="accent2">
            <a:hueOff val="-15515359"/>
            <a:satOff val="-29084"/>
            <a:lumOff val="298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NICU Level 3</a:t>
          </a:r>
        </a:p>
      </dsp:txBody>
      <dsp:txXfrm>
        <a:off x="48472" y="3702600"/>
        <a:ext cx="2454232" cy="89601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16FA17-DDC9-4C24-B969-19441A29DCD5}">
      <dsp:nvSpPr>
        <dsp:cNvPr id="0" name=""/>
        <dsp:cNvSpPr/>
      </dsp:nvSpPr>
      <dsp:spPr>
        <a:xfrm>
          <a:off x="1630679" y="1953"/>
          <a:ext cx="6522720" cy="8572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559" tIns="217737" rIns="126559" bIns="217737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roficiency in the clinical practice of pediatric emergency medicine (PEM)</a:t>
          </a:r>
        </a:p>
      </dsp:txBody>
      <dsp:txXfrm>
        <a:off x="1630679" y="1953"/>
        <a:ext cx="6522720" cy="857231"/>
      </dsp:txXfrm>
    </dsp:sp>
    <dsp:sp modelId="{C428C824-FE27-427D-BBE5-A490B1F0B75F}">
      <dsp:nvSpPr>
        <dsp:cNvPr id="0" name=""/>
        <dsp:cNvSpPr/>
      </dsp:nvSpPr>
      <dsp:spPr>
        <a:xfrm>
          <a:off x="0" y="1953"/>
          <a:ext cx="1630680" cy="8572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290" tIns="84675" rIns="86290" bIns="84675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Gain</a:t>
          </a:r>
        </a:p>
      </dsp:txBody>
      <dsp:txXfrm>
        <a:off x="0" y="1953"/>
        <a:ext cx="1630680" cy="857231"/>
      </dsp:txXfrm>
    </dsp:sp>
    <dsp:sp modelId="{26453036-9F44-47E1-818B-8A40D04F9279}">
      <dsp:nvSpPr>
        <dsp:cNvPr id="0" name=""/>
        <dsp:cNvSpPr/>
      </dsp:nvSpPr>
      <dsp:spPr>
        <a:xfrm>
          <a:off x="1630680" y="910619"/>
          <a:ext cx="6522720" cy="8572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559" tIns="217737" rIns="126559" bIns="217737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mpetency in educating other health care providers and families</a:t>
          </a:r>
        </a:p>
      </dsp:txBody>
      <dsp:txXfrm>
        <a:off x="1630680" y="910619"/>
        <a:ext cx="6522720" cy="857231"/>
      </dsp:txXfrm>
    </dsp:sp>
    <dsp:sp modelId="{9F8F6E6B-7753-46B4-B6F1-707B0C69D26F}">
      <dsp:nvSpPr>
        <dsp:cNvPr id="0" name=""/>
        <dsp:cNvSpPr/>
      </dsp:nvSpPr>
      <dsp:spPr>
        <a:xfrm>
          <a:off x="0" y="910619"/>
          <a:ext cx="1630680" cy="8572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290" tIns="84675" rIns="86290" bIns="84675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chieve</a:t>
          </a:r>
        </a:p>
      </dsp:txBody>
      <dsp:txXfrm>
        <a:off x="0" y="910619"/>
        <a:ext cx="1630680" cy="857231"/>
      </dsp:txXfrm>
    </dsp:sp>
    <dsp:sp modelId="{91268AA8-39D6-4DC5-9F6C-9079868EF29D}">
      <dsp:nvSpPr>
        <dsp:cNvPr id="0" name=""/>
        <dsp:cNvSpPr/>
      </dsp:nvSpPr>
      <dsp:spPr>
        <a:xfrm>
          <a:off x="1630680" y="1819284"/>
          <a:ext cx="6522720" cy="8572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559" tIns="217737" rIns="126559" bIns="217737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veryday work in a scholarly way</a:t>
          </a:r>
        </a:p>
      </dsp:txBody>
      <dsp:txXfrm>
        <a:off x="1630680" y="1819284"/>
        <a:ext cx="6522720" cy="857231"/>
      </dsp:txXfrm>
    </dsp:sp>
    <dsp:sp modelId="{E2B1C3A2-77A1-4A0E-9EA5-EC882B672ACA}">
      <dsp:nvSpPr>
        <dsp:cNvPr id="0" name=""/>
        <dsp:cNvSpPr/>
      </dsp:nvSpPr>
      <dsp:spPr>
        <a:xfrm>
          <a:off x="0" y="1819284"/>
          <a:ext cx="1630680" cy="8572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290" tIns="84675" rIns="86290" bIns="84675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Approach</a:t>
          </a:r>
        </a:p>
      </dsp:txBody>
      <dsp:txXfrm>
        <a:off x="0" y="1819284"/>
        <a:ext cx="1630680" cy="857231"/>
      </dsp:txXfrm>
    </dsp:sp>
    <dsp:sp modelId="{D60C6473-0BEC-4CCA-BCF3-B198A507072B}">
      <dsp:nvSpPr>
        <dsp:cNvPr id="0" name=""/>
        <dsp:cNvSpPr/>
      </dsp:nvSpPr>
      <dsp:spPr>
        <a:xfrm>
          <a:off x="1630680" y="2727949"/>
          <a:ext cx="6522720" cy="8572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559" tIns="217737" rIns="126559" bIns="217737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familiarity with administrative issues</a:t>
          </a:r>
        </a:p>
      </dsp:txBody>
      <dsp:txXfrm>
        <a:off x="1630680" y="2727949"/>
        <a:ext cx="6522720" cy="857231"/>
      </dsp:txXfrm>
    </dsp:sp>
    <dsp:sp modelId="{18495DE7-FBD3-4CB7-BED0-6BDD8144D920}">
      <dsp:nvSpPr>
        <dsp:cNvPr id="0" name=""/>
        <dsp:cNvSpPr/>
      </dsp:nvSpPr>
      <dsp:spPr>
        <a:xfrm>
          <a:off x="0" y="2727949"/>
          <a:ext cx="1630680" cy="8572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290" tIns="84675" rIns="86290" bIns="84675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evelop</a:t>
          </a:r>
        </a:p>
      </dsp:txBody>
      <dsp:txXfrm>
        <a:off x="0" y="2727949"/>
        <a:ext cx="1630680" cy="857231"/>
      </dsp:txXfrm>
    </dsp:sp>
    <dsp:sp modelId="{AB1D43D3-29CF-4B01-BAF8-634369F7728D}">
      <dsp:nvSpPr>
        <dsp:cNvPr id="0" name=""/>
        <dsp:cNvSpPr/>
      </dsp:nvSpPr>
      <dsp:spPr>
        <a:xfrm>
          <a:off x="1630680" y="3636614"/>
          <a:ext cx="6522720" cy="85723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6559" tIns="217737" rIns="126559" bIns="217737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for a career in PEM</a:t>
          </a:r>
        </a:p>
      </dsp:txBody>
      <dsp:txXfrm>
        <a:off x="1630680" y="3636614"/>
        <a:ext cx="6522720" cy="857231"/>
      </dsp:txXfrm>
    </dsp:sp>
    <dsp:sp modelId="{0D65DACA-2220-4BBB-A9FC-B3F0298CE804}">
      <dsp:nvSpPr>
        <dsp:cNvPr id="0" name=""/>
        <dsp:cNvSpPr/>
      </dsp:nvSpPr>
      <dsp:spPr>
        <a:xfrm>
          <a:off x="0" y="3636614"/>
          <a:ext cx="1630680" cy="8572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290" tIns="84675" rIns="86290" bIns="84675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Prepare</a:t>
          </a:r>
        </a:p>
      </dsp:txBody>
      <dsp:txXfrm>
        <a:off x="0" y="3636614"/>
        <a:ext cx="1630680" cy="85723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99A194-B36A-4665-A423-A22F2CD66A00}">
      <dsp:nvSpPr>
        <dsp:cNvPr id="0" name=""/>
        <dsp:cNvSpPr/>
      </dsp:nvSpPr>
      <dsp:spPr>
        <a:xfrm>
          <a:off x="524991" y="95"/>
          <a:ext cx="6570017" cy="597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b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Clinical practice</a:t>
          </a:r>
        </a:p>
      </dsp:txBody>
      <dsp:txXfrm>
        <a:off x="524991" y="95"/>
        <a:ext cx="6570017" cy="597274"/>
      </dsp:txXfrm>
    </dsp:sp>
    <dsp:sp modelId="{99ED1452-6F97-4CAE-82F9-9C97EB35A0A6}">
      <dsp:nvSpPr>
        <dsp:cNvPr id="0" name=""/>
        <dsp:cNvSpPr/>
      </dsp:nvSpPr>
      <dsp:spPr>
        <a:xfrm>
          <a:off x="524991" y="59736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6521D8-6DB0-414F-942D-23AA514C1C1A}">
      <dsp:nvSpPr>
        <dsp:cNvPr id="0" name=""/>
        <dsp:cNvSpPr/>
      </dsp:nvSpPr>
      <dsp:spPr>
        <a:xfrm>
          <a:off x="1452093" y="59736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14373"/>
            <a:satOff val="-1514"/>
            <a:lumOff val="1000"/>
            <a:alphaOff val="0"/>
          </a:schemeClr>
        </a:solidFill>
        <a:ln w="19050" cap="flat" cmpd="sng" algn="ctr">
          <a:solidFill>
            <a:schemeClr val="accent2">
              <a:shade val="80000"/>
              <a:hueOff val="14373"/>
              <a:satOff val="-1514"/>
              <a:lumOff val="100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E49CAB-3A2A-4AE0-ABC0-77726268BFBB}">
      <dsp:nvSpPr>
        <dsp:cNvPr id="0" name=""/>
        <dsp:cNvSpPr/>
      </dsp:nvSpPr>
      <dsp:spPr>
        <a:xfrm>
          <a:off x="2379196" y="59736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28747"/>
            <a:satOff val="-3028"/>
            <a:lumOff val="2000"/>
            <a:alphaOff val="0"/>
          </a:schemeClr>
        </a:solidFill>
        <a:ln w="19050" cap="flat" cmpd="sng" algn="ctr">
          <a:solidFill>
            <a:schemeClr val="accent2">
              <a:shade val="80000"/>
              <a:hueOff val="28747"/>
              <a:satOff val="-3028"/>
              <a:lumOff val="200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C9C5E4-CBF4-4666-AB04-9328031BC8E3}">
      <dsp:nvSpPr>
        <dsp:cNvPr id="0" name=""/>
        <dsp:cNvSpPr/>
      </dsp:nvSpPr>
      <dsp:spPr>
        <a:xfrm>
          <a:off x="3306298" y="59736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43120"/>
            <a:satOff val="-4542"/>
            <a:lumOff val="3000"/>
            <a:alphaOff val="0"/>
          </a:schemeClr>
        </a:solidFill>
        <a:ln w="19050" cap="flat" cmpd="sng" algn="ctr">
          <a:solidFill>
            <a:schemeClr val="accent2">
              <a:shade val="80000"/>
              <a:hueOff val="43120"/>
              <a:satOff val="-4542"/>
              <a:lumOff val="300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D55020-29D0-4F10-A96A-22A2E9CA0C64}">
      <dsp:nvSpPr>
        <dsp:cNvPr id="0" name=""/>
        <dsp:cNvSpPr/>
      </dsp:nvSpPr>
      <dsp:spPr>
        <a:xfrm>
          <a:off x="4233401" y="59736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57493"/>
            <a:satOff val="-6056"/>
            <a:lumOff val="4000"/>
            <a:alphaOff val="0"/>
          </a:schemeClr>
        </a:solidFill>
        <a:ln w="19050" cap="flat" cmpd="sng" algn="ctr">
          <a:solidFill>
            <a:schemeClr val="accent2">
              <a:shade val="80000"/>
              <a:hueOff val="57493"/>
              <a:satOff val="-6056"/>
              <a:lumOff val="400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69495B-15AA-41BB-B54E-458AFEFCCF8A}">
      <dsp:nvSpPr>
        <dsp:cNvPr id="0" name=""/>
        <dsp:cNvSpPr/>
      </dsp:nvSpPr>
      <dsp:spPr>
        <a:xfrm>
          <a:off x="5160503" y="59736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71866"/>
            <a:satOff val="-7570"/>
            <a:lumOff val="5001"/>
            <a:alphaOff val="0"/>
          </a:schemeClr>
        </a:solidFill>
        <a:ln w="19050" cap="flat" cmpd="sng" algn="ctr">
          <a:solidFill>
            <a:schemeClr val="accent2">
              <a:shade val="80000"/>
              <a:hueOff val="71866"/>
              <a:satOff val="-7570"/>
              <a:lumOff val="50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240267-94A6-4833-8EAA-771E8877526A}">
      <dsp:nvSpPr>
        <dsp:cNvPr id="0" name=""/>
        <dsp:cNvSpPr/>
      </dsp:nvSpPr>
      <dsp:spPr>
        <a:xfrm>
          <a:off x="6087606" y="59736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86240"/>
            <a:satOff val="-9085"/>
            <a:lumOff val="6001"/>
            <a:alphaOff val="0"/>
          </a:schemeClr>
        </a:solidFill>
        <a:ln w="19050" cap="flat" cmpd="sng" algn="ctr">
          <a:solidFill>
            <a:schemeClr val="accent2">
              <a:shade val="80000"/>
              <a:hueOff val="86240"/>
              <a:satOff val="-9085"/>
              <a:lumOff val="60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BA35C0-7FC5-42A5-B282-B17968F55FC3}">
      <dsp:nvSpPr>
        <dsp:cNvPr id="0" name=""/>
        <dsp:cNvSpPr/>
      </dsp:nvSpPr>
      <dsp:spPr>
        <a:xfrm>
          <a:off x="524991" y="837874"/>
          <a:ext cx="6570017" cy="597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b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Teaching and consulting</a:t>
          </a:r>
        </a:p>
      </dsp:txBody>
      <dsp:txXfrm>
        <a:off x="524991" y="837874"/>
        <a:ext cx="6570017" cy="597274"/>
      </dsp:txXfrm>
    </dsp:sp>
    <dsp:sp modelId="{684C826C-56AC-4A4A-825D-FF3AF40EACE5}">
      <dsp:nvSpPr>
        <dsp:cNvPr id="0" name=""/>
        <dsp:cNvSpPr/>
      </dsp:nvSpPr>
      <dsp:spPr>
        <a:xfrm>
          <a:off x="524991" y="143514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100613"/>
            <a:satOff val="-10599"/>
            <a:lumOff val="7001"/>
            <a:alphaOff val="0"/>
          </a:schemeClr>
        </a:solidFill>
        <a:ln w="19050" cap="flat" cmpd="sng" algn="ctr">
          <a:solidFill>
            <a:schemeClr val="accent2">
              <a:shade val="80000"/>
              <a:hueOff val="100613"/>
              <a:satOff val="-10599"/>
              <a:lumOff val="70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E7B024-F080-4C7C-83B5-950075112D11}">
      <dsp:nvSpPr>
        <dsp:cNvPr id="0" name=""/>
        <dsp:cNvSpPr/>
      </dsp:nvSpPr>
      <dsp:spPr>
        <a:xfrm>
          <a:off x="1452093" y="143514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114986"/>
            <a:satOff val="-12113"/>
            <a:lumOff val="8001"/>
            <a:alphaOff val="0"/>
          </a:schemeClr>
        </a:solidFill>
        <a:ln w="19050" cap="flat" cmpd="sng" algn="ctr">
          <a:solidFill>
            <a:schemeClr val="accent2">
              <a:shade val="80000"/>
              <a:hueOff val="114986"/>
              <a:satOff val="-12113"/>
              <a:lumOff val="80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82C31C5-58EE-4ECC-A9EC-940346350DDC}">
      <dsp:nvSpPr>
        <dsp:cNvPr id="0" name=""/>
        <dsp:cNvSpPr/>
      </dsp:nvSpPr>
      <dsp:spPr>
        <a:xfrm>
          <a:off x="2379196" y="143514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129360"/>
            <a:satOff val="-13627"/>
            <a:lumOff val="9001"/>
            <a:alphaOff val="0"/>
          </a:schemeClr>
        </a:solidFill>
        <a:ln w="19050" cap="flat" cmpd="sng" algn="ctr">
          <a:solidFill>
            <a:schemeClr val="accent2">
              <a:shade val="80000"/>
              <a:hueOff val="129360"/>
              <a:satOff val="-13627"/>
              <a:lumOff val="90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1434CC-7980-4546-9332-56EA1D337593}">
      <dsp:nvSpPr>
        <dsp:cNvPr id="0" name=""/>
        <dsp:cNvSpPr/>
      </dsp:nvSpPr>
      <dsp:spPr>
        <a:xfrm>
          <a:off x="3306298" y="143514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143733"/>
            <a:satOff val="-15141"/>
            <a:lumOff val="10001"/>
            <a:alphaOff val="0"/>
          </a:schemeClr>
        </a:solidFill>
        <a:ln w="19050" cap="flat" cmpd="sng" algn="ctr">
          <a:solidFill>
            <a:schemeClr val="accent2">
              <a:shade val="80000"/>
              <a:hueOff val="143733"/>
              <a:satOff val="-15141"/>
              <a:lumOff val="100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D352B8-8603-413D-A3F5-71A48276933A}">
      <dsp:nvSpPr>
        <dsp:cNvPr id="0" name=""/>
        <dsp:cNvSpPr/>
      </dsp:nvSpPr>
      <dsp:spPr>
        <a:xfrm>
          <a:off x="4233401" y="143514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158106"/>
            <a:satOff val="-16655"/>
            <a:lumOff val="11001"/>
            <a:alphaOff val="0"/>
          </a:schemeClr>
        </a:solidFill>
        <a:ln w="19050" cap="flat" cmpd="sng" algn="ctr">
          <a:solidFill>
            <a:schemeClr val="accent2">
              <a:shade val="80000"/>
              <a:hueOff val="158106"/>
              <a:satOff val="-16655"/>
              <a:lumOff val="110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6F522D-AFF7-47EE-A2CC-6BF9050ED336}">
      <dsp:nvSpPr>
        <dsp:cNvPr id="0" name=""/>
        <dsp:cNvSpPr/>
      </dsp:nvSpPr>
      <dsp:spPr>
        <a:xfrm>
          <a:off x="5160503" y="143514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172479"/>
            <a:satOff val="-18169"/>
            <a:lumOff val="12001"/>
            <a:alphaOff val="0"/>
          </a:schemeClr>
        </a:solidFill>
        <a:ln w="19050" cap="flat" cmpd="sng" algn="ctr">
          <a:solidFill>
            <a:schemeClr val="accent2">
              <a:shade val="80000"/>
              <a:hueOff val="172479"/>
              <a:satOff val="-18169"/>
              <a:lumOff val="120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67543A-EA43-4D42-8876-83F4F45D82E0}">
      <dsp:nvSpPr>
        <dsp:cNvPr id="0" name=""/>
        <dsp:cNvSpPr/>
      </dsp:nvSpPr>
      <dsp:spPr>
        <a:xfrm>
          <a:off x="6087606" y="1435149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186853"/>
            <a:satOff val="-19683"/>
            <a:lumOff val="13002"/>
            <a:alphaOff val="0"/>
          </a:schemeClr>
        </a:solidFill>
        <a:ln w="19050" cap="flat" cmpd="sng" algn="ctr">
          <a:solidFill>
            <a:schemeClr val="accent2">
              <a:shade val="80000"/>
              <a:hueOff val="186853"/>
              <a:satOff val="-19683"/>
              <a:lumOff val="1300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C12C08-E231-44C3-90A4-A8051BDB9BC2}">
      <dsp:nvSpPr>
        <dsp:cNvPr id="0" name=""/>
        <dsp:cNvSpPr/>
      </dsp:nvSpPr>
      <dsp:spPr>
        <a:xfrm>
          <a:off x="524991" y="1675654"/>
          <a:ext cx="6570017" cy="597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b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Administrative training</a:t>
          </a:r>
        </a:p>
      </dsp:txBody>
      <dsp:txXfrm>
        <a:off x="524991" y="1675654"/>
        <a:ext cx="6570017" cy="597274"/>
      </dsp:txXfrm>
    </dsp:sp>
    <dsp:sp modelId="{D2D47059-B7A8-4B8F-BE28-ABC94E44A503}">
      <dsp:nvSpPr>
        <dsp:cNvPr id="0" name=""/>
        <dsp:cNvSpPr/>
      </dsp:nvSpPr>
      <dsp:spPr>
        <a:xfrm>
          <a:off x="524991" y="227292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201226"/>
            <a:satOff val="-21197"/>
            <a:lumOff val="14002"/>
            <a:alphaOff val="0"/>
          </a:schemeClr>
        </a:solidFill>
        <a:ln w="19050" cap="flat" cmpd="sng" algn="ctr">
          <a:solidFill>
            <a:schemeClr val="accent2">
              <a:shade val="80000"/>
              <a:hueOff val="201226"/>
              <a:satOff val="-21197"/>
              <a:lumOff val="1400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1DA337-24D9-476F-A093-3314F92DAC0A}">
      <dsp:nvSpPr>
        <dsp:cNvPr id="0" name=""/>
        <dsp:cNvSpPr/>
      </dsp:nvSpPr>
      <dsp:spPr>
        <a:xfrm>
          <a:off x="1452093" y="227292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215599"/>
            <a:satOff val="-22711"/>
            <a:lumOff val="15002"/>
            <a:alphaOff val="0"/>
          </a:schemeClr>
        </a:solidFill>
        <a:ln w="19050" cap="flat" cmpd="sng" algn="ctr">
          <a:solidFill>
            <a:schemeClr val="accent2">
              <a:shade val="80000"/>
              <a:hueOff val="215599"/>
              <a:satOff val="-22711"/>
              <a:lumOff val="1500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72389B-B1E0-4D29-89B4-8BDBE6388460}">
      <dsp:nvSpPr>
        <dsp:cNvPr id="0" name=""/>
        <dsp:cNvSpPr/>
      </dsp:nvSpPr>
      <dsp:spPr>
        <a:xfrm>
          <a:off x="2379196" y="227292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229973"/>
            <a:satOff val="-24226"/>
            <a:lumOff val="16002"/>
            <a:alphaOff val="0"/>
          </a:schemeClr>
        </a:solidFill>
        <a:ln w="19050" cap="flat" cmpd="sng" algn="ctr">
          <a:solidFill>
            <a:schemeClr val="accent2">
              <a:shade val="80000"/>
              <a:hueOff val="229973"/>
              <a:satOff val="-24226"/>
              <a:lumOff val="1600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679906-B1C6-4E15-8607-541E7CE7A524}">
      <dsp:nvSpPr>
        <dsp:cNvPr id="0" name=""/>
        <dsp:cNvSpPr/>
      </dsp:nvSpPr>
      <dsp:spPr>
        <a:xfrm>
          <a:off x="3306298" y="227292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244346"/>
            <a:satOff val="-25740"/>
            <a:lumOff val="17002"/>
            <a:alphaOff val="0"/>
          </a:schemeClr>
        </a:solidFill>
        <a:ln w="19050" cap="flat" cmpd="sng" algn="ctr">
          <a:solidFill>
            <a:schemeClr val="accent2">
              <a:shade val="80000"/>
              <a:hueOff val="244346"/>
              <a:satOff val="-25740"/>
              <a:lumOff val="1700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E20A0A-5342-4BA5-A043-0FE03E8ECB37}">
      <dsp:nvSpPr>
        <dsp:cNvPr id="0" name=""/>
        <dsp:cNvSpPr/>
      </dsp:nvSpPr>
      <dsp:spPr>
        <a:xfrm>
          <a:off x="4233401" y="227292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258719"/>
            <a:satOff val="-27254"/>
            <a:lumOff val="18002"/>
            <a:alphaOff val="0"/>
          </a:schemeClr>
        </a:solidFill>
        <a:ln w="19050" cap="flat" cmpd="sng" algn="ctr">
          <a:solidFill>
            <a:schemeClr val="accent2">
              <a:shade val="80000"/>
              <a:hueOff val="258719"/>
              <a:satOff val="-27254"/>
              <a:lumOff val="1800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D353DC-7DA4-48E8-B594-D0BF75DEDA10}">
      <dsp:nvSpPr>
        <dsp:cNvPr id="0" name=""/>
        <dsp:cNvSpPr/>
      </dsp:nvSpPr>
      <dsp:spPr>
        <a:xfrm>
          <a:off x="5160503" y="227292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273092"/>
            <a:satOff val="-28768"/>
            <a:lumOff val="19002"/>
            <a:alphaOff val="0"/>
          </a:schemeClr>
        </a:solidFill>
        <a:ln w="19050" cap="flat" cmpd="sng" algn="ctr">
          <a:solidFill>
            <a:schemeClr val="accent2">
              <a:shade val="80000"/>
              <a:hueOff val="273092"/>
              <a:satOff val="-28768"/>
              <a:lumOff val="1900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1BB847-1D56-49E3-A85B-49D61A1BD8B6}">
      <dsp:nvSpPr>
        <dsp:cNvPr id="0" name=""/>
        <dsp:cNvSpPr/>
      </dsp:nvSpPr>
      <dsp:spPr>
        <a:xfrm>
          <a:off x="6087606" y="227292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287466"/>
            <a:satOff val="-30282"/>
            <a:lumOff val="20002"/>
            <a:alphaOff val="0"/>
          </a:schemeClr>
        </a:solidFill>
        <a:ln w="19050" cap="flat" cmpd="sng" algn="ctr">
          <a:solidFill>
            <a:schemeClr val="accent2">
              <a:shade val="80000"/>
              <a:hueOff val="287466"/>
              <a:satOff val="-30282"/>
              <a:lumOff val="2000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AA1CE6-43C8-47F1-A987-4CC113EA3B60}">
      <dsp:nvSpPr>
        <dsp:cNvPr id="0" name=""/>
        <dsp:cNvSpPr/>
      </dsp:nvSpPr>
      <dsp:spPr>
        <a:xfrm>
          <a:off x="524991" y="2513433"/>
          <a:ext cx="6570017" cy="597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b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Quality and performance improvement</a:t>
          </a:r>
        </a:p>
      </dsp:txBody>
      <dsp:txXfrm>
        <a:off x="524991" y="2513433"/>
        <a:ext cx="6570017" cy="597274"/>
      </dsp:txXfrm>
    </dsp:sp>
    <dsp:sp modelId="{B5C6EC3D-B119-4A92-B68D-64FDCCCE285E}">
      <dsp:nvSpPr>
        <dsp:cNvPr id="0" name=""/>
        <dsp:cNvSpPr/>
      </dsp:nvSpPr>
      <dsp:spPr>
        <a:xfrm>
          <a:off x="524991" y="311070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301839"/>
            <a:satOff val="-31796"/>
            <a:lumOff val="21003"/>
            <a:alphaOff val="0"/>
          </a:schemeClr>
        </a:solidFill>
        <a:ln w="19050" cap="flat" cmpd="sng" algn="ctr">
          <a:solidFill>
            <a:schemeClr val="accent2">
              <a:shade val="80000"/>
              <a:hueOff val="301839"/>
              <a:satOff val="-31796"/>
              <a:lumOff val="210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893474-5F77-46DA-AB7E-E16D79722D03}">
      <dsp:nvSpPr>
        <dsp:cNvPr id="0" name=""/>
        <dsp:cNvSpPr/>
      </dsp:nvSpPr>
      <dsp:spPr>
        <a:xfrm>
          <a:off x="1452093" y="311070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316212"/>
            <a:satOff val="-33310"/>
            <a:lumOff val="22003"/>
            <a:alphaOff val="0"/>
          </a:schemeClr>
        </a:solidFill>
        <a:ln w="19050" cap="flat" cmpd="sng" algn="ctr">
          <a:solidFill>
            <a:schemeClr val="accent2">
              <a:shade val="80000"/>
              <a:hueOff val="316212"/>
              <a:satOff val="-33310"/>
              <a:lumOff val="220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AF00C3-5D49-4B8A-9A0C-7908254E141B}">
      <dsp:nvSpPr>
        <dsp:cNvPr id="0" name=""/>
        <dsp:cNvSpPr/>
      </dsp:nvSpPr>
      <dsp:spPr>
        <a:xfrm>
          <a:off x="2379196" y="311070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330586"/>
            <a:satOff val="-34824"/>
            <a:lumOff val="23003"/>
            <a:alphaOff val="0"/>
          </a:schemeClr>
        </a:solidFill>
        <a:ln w="19050" cap="flat" cmpd="sng" algn="ctr">
          <a:solidFill>
            <a:schemeClr val="accent2">
              <a:shade val="80000"/>
              <a:hueOff val="330586"/>
              <a:satOff val="-34824"/>
              <a:lumOff val="230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C23B75-A96A-4990-87EA-F1209E634DAA}">
      <dsp:nvSpPr>
        <dsp:cNvPr id="0" name=""/>
        <dsp:cNvSpPr/>
      </dsp:nvSpPr>
      <dsp:spPr>
        <a:xfrm>
          <a:off x="3306298" y="311070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344959"/>
            <a:satOff val="-36338"/>
            <a:lumOff val="24003"/>
            <a:alphaOff val="0"/>
          </a:schemeClr>
        </a:solidFill>
        <a:ln w="19050" cap="flat" cmpd="sng" algn="ctr">
          <a:solidFill>
            <a:schemeClr val="accent2">
              <a:shade val="80000"/>
              <a:hueOff val="344959"/>
              <a:satOff val="-36338"/>
              <a:lumOff val="240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9B2CC5-AADD-4610-8C3E-FB2BAAD610FF}">
      <dsp:nvSpPr>
        <dsp:cNvPr id="0" name=""/>
        <dsp:cNvSpPr/>
      </dsp:nvSpPr>
      <dsp:spPr>
        <a:xfrm>
          <a:off x="4233401" y="311070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359332"/>
            <a:satOff val="-37852"/>
            <a:lumOff val="25003"/>
            <a:alphaOff val="0"/>
          </a:schemeClr>
        </a:solidFill>
        <a:ln w="19050" cap="flat" cmpd="sng" algn="ctr">
          <a:solidFill>
            <a:schemeClr val="accent2">
              <a:shade val="80000"/>
              <a:hueOff val="359332"/>
              <a:satOff val="-37852"/>
              <a:lumOff val="250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919C07-87DD-4636-99AE-9B44C3DCE815}">
      <dsp:nvSpPr>
        <dsp:cNvPr id="0" name=""/>
        <dsp:cNvSpPr/>
      </dsp:nvSpPr>
      <dsp:spPr>
        <a:xfrm>
          <a:off x="5160503" y="311070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373705"/>
            <a:satOff val="-39367"/>
            <a:lumOff val="26003"/>
            <a:alphaOff val="0"/>
          </a:schemeClr>
        </a:solidFill>
        <a:ln w="19050" cap="flat" cmpd="sng" algn="ctr">
          <a:solidFill>
            <a:schemeClr val="accent2">
              <a:shade val="80000"/>
              <a:hueOff val="373705"/>
              <a:satOff val="-39367"/>
              <a:lumOff val="260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10D5D6-BC4F-49A9-8EE5-DA08B162BC34}">
      <dsp:nvSpPr>
        <dsp:cNvPr id="0" name=""/>
        <dsp:cNvSpPr/>
      </dsp:nvSpPr>
      <dsp:spPr>
        <a:xfrm>
          <a:off x="6087606" y="3110708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388079"/>
            <a:satOff val="-40881"/>
            <a:lumOff val="27003"/>
            <a:alphaOff val="0"/>
          </a:schemeClr>
        </a:solidFill>
        <a:ln w="19050" cap="flat" cmpd="sng" algn="ctr">
          <a:solidFill>
            <a:schemeClr val="accent2">
              <a:shade val="80000"/>
              <a:hueOff val="388079"/>
              <a:satOff val="-40881"/>
              <a:lumOff val="270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D1A434-AE03-4783-BD99-D24E47DE58C9}">
      <dsp:nvSpPr>
        <dsp:cNvPr id="0" name=""/>
        <dsp:cNvSpPr/>
      </dsp:nvSpPr>
      <dsp:spPr>
        <a:xfrm>
          <a:off x="524991" y="3351213"/>
          <a:ext cx="6570017" cy="597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b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Career development</a:t>
          </a:r>
        </a:p>
      </dsp:txBody>
      <dsp:txXfrm>
        <a:off x="524991" y="3351213"/>
        <a:ext cx="6570017" cy="597274"/>
      </dsp:txXfrm>
    </dsp:sp>
    <dsp:sp modelId="{45A5486A-DA9E-4A1F-A3EF-3221E42B8910}">
      <dsp:nvSpPr>
        <dsp:cNvPr id="0" name=""/>
        <dsp:cNvSpPr/>
      </dsp:nvSpPr>
      <dsp:spPr>
        <a:xfrm>
          <a:off x="524991" y="394848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402452"/>
            <a:satOff val="-42395"/>
            <a:lumOff val="28003"/>
            <a:alphaOff val="0"/>
          </a:schemeClr>
        </a:solidFill>
        <a:ln w="19050" cap="flat" cmpd="sng" algn="ctr">
          <a:solidFill>
            <a:schemeClr val="accent2">
              <a:shade val="80000"/>
              <a:hueOff val="402452"/>
              <a:satOff val="-42395"/>
              <a:lumOff val="280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730771-AEBC-459F-AE95-A132169E465A}">
      <dsp:nvSpPr>
        <dsp:cNvPr id="0" name=""/>
        <dsp:cNvSpPr/>
      </dsp:nvSpPr>
      <dsp:spPr>
        <a:xfrm>
          <a:off x="1452093" y="394848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416825"/>
            <a:satOff val="-43909"/>
            <a:lumOff val="29004"/>
            <a:alphaOff val="0"/>
          </a:schemeClr>
        </a:solidFill>
        <a:ln w="19050" cap="flat" cmpd="sng" algn="ctr">
          <a:solidFill>
            <a:schemeClr val="accent2">
              <a:shade val="80000"/>
              <a:hueOff val="416825"/>
              <a:satOff val="-43909"/>
              <a:lumOff val="290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FD6AF7-89C0-44A4-A9F0-F11E103126D4}">
      <dsp:nvSpPr>
        <dsp:cNvPr id="0" name=""/>
        <dsp:cNvSpPr/>
      </dsp:nvSpPr>
      <dsp:spPr>
        <a:xfrm>
          <a:off x="2379196" y="394848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431199"/>
            <a:satOff val="-45423"/>
            <a:lumOff val="30004"/>
            <a:alphaOff val="0"/>
          </a:schemeClr>
        </a:solidFill>
        <a:ln w="19050" cap="flat" cmpd="sng" algn="ctr">
          <a:solidFill>
            <a:schemeClr val="accent2">
              <a:shade val="80000"/>
              <a:hueOff val="431199"/>
              <a:satOff val="-45423"/>
              <a:lumOff val="300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C81BE2-BDE4-4F24-BFCD-D3101C6BB928}">
      <dsp:nvSpPr>
        <dsp:cNvPr id="0" name=""/>
        <dsp:cNvSpPr/>
      </dsp:nvSpPr>
      <dsp:spPr>
        <a:xfrm>
          <a:off x="3306298" y="394848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445572"/>
            <a:satOff val="-46937"/>
            <a:lumOff val="31004"/>
            <a:alphaOff val="0"/>
          </a:schemeClr>
        </a:solidFill>
        <a:ln w="19050" cap="flat" cmpd="sng" algn="ctr">
          <a:solidFill>
            <a:schemeClr val="accent2">
              <a:shade val="80000"/>
              <a:hueOff val="445572"/>
              <a:satOff val="-46937"/>
              <a:lumOff val="310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654A19-2482-404F-967B-A56ABBA66CE2}">
      <dsp:nvSpPr>
        <dsp:cNvPr id="0" name=""/>
        <dsp:cNvSpPr/>
      </dsp:nvSpPr>
      <dsp:spPr>
        <a:xfrm>
          <a:off x="4233401" y="394848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459945"/>
            <a:satOff val="-48451"/>
            <a:lumOff val="32004"/>
            <a:alphaOff val="0"/>
          </a:schemeClr>
        </a:solidFill>
        <a:ln w="19050" cap="flat" cmpd="sng" algn="ctr">
          <a:solidFill>
            <a:schemeClr val="accent2">
              <a:shade val="80000"/>
              <a:hueOff val="459945"/>
              <a:satOff val="-48451"/>
              <a:lumOff val="320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373191-2611-436A-9126-202BB6103F39}">
      <dsp:nvSpPr>
        <dsp:cNvPr id="0" name=""/>
        <dsp:cNvSpPr/>
      </dsp:nvSpPr>
      <dsp:spPr>
        <a:xfrm>
          <a:off x="5160503" y="394848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474319"/>
            <a:satOff val="-49965"/>
            <a:lumOff val="33004"/>
            <a:alphaOff val="0"/>
          </a:schemeClr>
        </a:solidFill>
        <a:ln w="19050" cap="flat" cmpd="sng" algn="ctr">
          <a:solidFill>
            <a:schemeClr val="accent2">
              <a:shade val="80000"/>
              <a:hueOff val="474319"/>
              <a:satOff val="-49965"/>
              <a:lumOff val="330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D56E3E-67A2-4631-A0DB-D0DCF848E5A4}">
      <dsp:nvSpPr>
        <dsp:cNvPr id="0" name=""/>
        <dsp:cNvSpPr/>
      </dsp:nvSpPr>
      <dsp:spPr>
        <a:xfrm>
          <a:off x="6087606" y="394848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488692"/>
            <a:satOff val="-51479"/>
            <a:lumOff val="34004"/>
            <a:alphaOff val="0"/>
          </a:schemeClr>
        </a:solidFill>
        <a:ln w="19050" cap="flat" cmpd="sng" algn="ctr">
          <a:solidFill>
            <a:schemeClr val="accent2">
              <a:shade val="80000"/>
              <a:hueOff val="488692"/>
              <a:satOff val="-51479"/>
              <a:lumOff val="340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73AA0F-3E7A-4003-9E7F-2259F8EC882B}">
      <dsp:nvSpPr>
        <dsp:cNvPr id="0" name=""/>
        <dsp:cNvSpPr/>
      </dsp:nvSpPr>
      <dsp:spPr>
        <a:xfrm>
          <a:off x="524991" y="4188993"/>
          <a:ext cx="6570017" cy="5972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b" anchorCtr="0">
          <a:noAutofit/>
        </a:bodyPr>
        <a:lstStyle/>
        <a:p>
          <a:pPr marL="0" lvl="0" indent="0" algn="l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Academics &amp; Scholarship</a:t>
          </a:r>
        </a:p>
      </dsp:txBody>
      <dsp:txXfrm>
        <a:off x="524991" y="4188993"/>
        <a:ext cx="6570017" cy="597274"/>
      </dsp:txXfrm>
    </dsp:sp>
    <dsp:sp modelId="{69642AD1-54E3-40CA-8895-E25DEE93A5E5}">
      <dsp:nvSpPr>
        <dsp:cNvPr id="0" name=""/>
        <dsp:cNvSpPr/>
      </dsp:nvSpPr>
      <dsp:spPr>
        <a:xfrm>
          <a:off x="524991" y="478626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503065"/>
            <a:satOff val="-52993"/>
            <a:lumOff val="35004"/>
            <a:alphaOff val="0"/>
          </a:schemeClr>
        </a:solidFill>
        <a:ln w="19050" cap="flat" cmpd="sng" algn="ctr">
          <a:solidFill>
            <a:schemeClr val="accent2">
              <a:shade val="80000"/>
              <a:hueOff val="503065"/>
              <a:satOff val="-52993"/>
              <a:lumOff val="350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148B7A-D9BD-47E3-982D-727637E9DB7C}">
      <dsp:nvSpPr>
        <dsp:cNvPr id="0" name=""/>
        <dsp:cNvSpPr/>
      </dsp:nvSpPr>
      <dsp:spPr>
        <a:xfrm>
          <a:off x="1452093" y="478626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517438"/>
            <a:satOff val="-54508"/>
            <a:lumOff val="36004"/>
            <a:alphaOff val="0"/>
          </a:schemeClr>
        </a:solidFill>
        <a:ln w="19050" cap="flat" cmpd="sng" algn="ctr">
          <a:solidFill>
            <a:schemeClr val="accent2">
              <a:shade val="80000"/>
              <a:hueOff val="517438"/>
              <a:satOff val="-54508"/>
              <a:lumOff val="360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19DB72-EF40-4823-9146-98D500774B06}">
      <dsp:nvSpPr>
        <dsp:cNvPr id="0" name=""/>
        <dsp:cNvSpPr/>
      </dsp:nvSpPr>
      <dsp:spPr>
        <a:xfrm>
          <a:off x="2379196" y="478626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531812"/>
            <a:satOff val="-56022"/>
            <a:lumOff val="37005"/>
            <a:alphaOff val="0"/>
          </a:schemeClr>
        </a:solidFill>
        <a:ln w="19050" cap="flat" cmpd="sng" algn="ctr">
          <a:solidFill>
            <a:schemeClr val="accent2">
              <a:shade val="80000"/>
              <a:hueOff val="531812"/>
              <a:satOff val="-56022"/>
              <a:lumOff val="3700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E34143-3F60-4B18-A8D0-25D8B34B509B}">
      <dsp:nvSpPr>
        <dsp:cNvPr id="0" name=""/>
        <dsp:cNvSpPr/>
      </dsp:nvSpPr>
      <dsp:spPr>
        <a:xfrm>
          <a:off x="3306298" y="478626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546185"/>
            <a:satOff val="-57536"/>
            <a:lumOff val="38005"/>
            <a:alphaOff val="0"/>
          </a:schemeClr>
        </a:solidFill>
        <a:ln w="19050" cap="flat" cmpd="sng" algn="ctr">
          <a:solidFill>
            <a:schemeClr val="accent2">
              <a:shade val="80000"/>
              <a:hueOff val="546185"/>
              <a:satOff val="-57536"/>
              <a:lumOff val="3800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E59986-7FCF-41E7-B38A-86D1FDC9A007}">
      <dsp:nvSpPr>
        <dsp:cNvPr id="0" name=""/>
        <dsp:cNvSpPr/>
      </dsp:nvSpPr>
      <dsp:spPr>
        <a:xfrm>
          <a:off x="4233401" y="478626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560558"/>
            <a:satOff val="-59050"/>
            <a:lumOff val="39005"/>
            <a:alphaOff val="0"/>
          </a:schemeClr>
        </a:solidFill>
        <a:ln w="19050" cap="flat" cmpd="sng" algn="ctr">
          <a:solidFill>
            <a:schemeClr val="accent2">
              <a:shade val="80000"/>
              <a:hueOff val="560558"/>
              <a:satOff val="-59050"/>
              <a:lumOff val="3900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BF8DFB-D365-4B96-B276-07B5B55D4042}">
      <dsp:nvSpPr>
        <dsp:cNvPr id="0" name=""/>
        <dsp:cNvSpPr/>
      </dsp:nvSpPr>
      <dsp:spPr>
        <a:xfrm>
          <a:off x="5160503" y="478626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574932"/>
            <a:satOff val="-60564"/>
            <a:lumOff val="40005"/>
            <a:alphaOff val="0"/>
          </a:schemeClr>
        </a:solidFill>
        <a:ln w="19050" cap="flat" cmpd="sng" algn="ctr">
          <a:solidFill>
            <a:schemeClr val="accent2">
              <a:shade val="80000"/>
              <a:hueOff val="574932"/>
              <a:satOff val="-60564"/>
              <a:lumOff val="4000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085CC1-DBCE-4860-9C31-BF054C211C36}">
      <dsp:nvSpPr>
        <dsp:cNvPr id="0" name=""/>
        <dsp:cNvSpPr/>
      </dsp:nvSpPr>
      <dsp:spPr>
        <a:xfrm>
          <a:off x="6087606" y="4786267"/>
          <a:ext cx="876002" cy="146000"/>
        </a:xfrm>
        <a:prstGeom prst="parallelogram">
          <a:avLst>
            <a:gd name="adj" fmla="val 140840"/>
          </a:avLst>
        </a:prstGeom>
        <a:solidFill>
          <a:schemeClr val="accent2">
            <a:shade val="80000"/>
            <a:hueOff val="589305"/>
            <a:satOff val="-62078"/>
            <a:lumOff val="41005"/>
            <a:alphaOff val="0"/>
          </a:schemeClr>
        </a:solidFill>
        <a:ln w="19050" cap="flat" cmpd="sng" algn="ctr">
          <a:solidFill>
            <a:schemeClr val="accent2">
              <a:shade val="80000"/>
              <a:hueOff val="589305"/>
              <a:satOff val="-62078"/>
              <a:lumOff val="4100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6/7/layout/VerticalHollowActionList">
  <dgm:title val="Vertical Hollow Action List"/>
  <dgm:desc val="Use to show non-sequential or grouped lists of information. Works well with large amounts of text. All text has the same level of emphasis, and direction is not implied."/>
  <dgm:catLst>
    <dgm:cat type="list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7" srcId="0" destId="4" srcOrd="3" destOrd="0"/>
        <dgm:cxn modelId="8" srcId="0" destId="5" srcOrd="4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  <dgm:cxn modelId="53" srcId="5" destId="5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6"/>
      <dgm:constr type="primFontSz" for="des" forName="parentText" op="equ" val="28"/>
      <dgm:constr type="primFontSz" for="des" forName="descendantText" refType="primFontSz" refFor="des" refForName="parentText" op="lte" fact="0.82"/>
      <dgm:constr type="primFontSz" for="des" forName="parentText" refType="primFontSz" refFor="des" refForName="descendantText" op="lte" fact="1.25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2"/>
          <dgm:constr type="w" for="ch" forName="descendantText" refType="w" fact="0.8"/>
          <dgm:constr type="h" for="ch" forName="parentText" refType="h"/>
          <dgm:constr type="h" for="ch" forName="descendantText" refType="h" refFor="ch" refForName="parentText"/>
        </dgm:constrLst>
        <dgm:ruleLst/>
        <dgm:layoutNode name="parentText" styleLbl="solidFgAcc1">
          <dgm:varLst>
            <dgm:chMax val="1"/>
            <dgm:bulletEnabled/>
          </dgm:varLst>
          <dgm:alg type="tx"/>
          <dgm:shape xmlns:r="http://schemas.openxmlformats.org/officeDocument/2006/relationships" type="rect" r:blip="" zOrderOff="3">
            <dgm:adjLst/>
          </dgm:shape>
          <dgm:presOf axis="self" ptType="node"/>
          <dgm:constrLst>
            <dgm:constr type="tMarg" refType="h" fact="0.28"/>
            <dgm:constr type="bMarg" refType="h" fact="0.28"/>
            <dgm:constr type="lMarg" refType="w" fact="0.15"/>
            <dgm:constr type="rMarg" refType="w" fact="0.15"/>
          </dgm:constrLst>
          <dgm:ruleLst>
            <dgm:rule type="primFontSz" val="15" fact="NaN" max="NaN"/>
          </dgm:ruleLst>
        </dgm:layoutNode>
        <dgm:layoutNode name="descendantText" styleLbl="alignNode1">
          <dgm:varLst>
            <dgm:bulletEnabled/>
          </dgm:varLst>
          <dgm:alg type="tx">
            <dgm:param type="stBulletLvl" val="0"/>
            <dgm:param type="parTxLTRAlign" val="l"/>
            <dgm:param type="shpTxLTRAlignCh" val="l"/>
            <dgm:param type="parTxRTLAlign" val="r"/>
            <dgm:param type="shpTxRTLAlignCh" val="r"/>
          </dgm:alg>
          <dgm:choose name="Name10">
            <dgm:if name="Name11" func="var" arg="dir" op="equ" val="norm">
              <dgm:shape xmlns:r="http://schemas.openxmlformats.org/officeDocument/2006/relationships" type="rect" r:blip="">
                <dgm:adjLst/>
              </dgm:shape>
            </dgm:if>
            <dgm:else name="Name12">
              <dgm:shape xmlns:r="http://schemas.openxmlformats.org/officeDocument/2006/relationships" type="rect" r:blip="">
                <dgm:adjLst/>
              </dgm:shape>
            </dgm:else>
          </dgm:choose>
          <dgm:presOf axis="des" ptType="node"/>
          <dgm:constrLst>
            <dgm:constr type="primFontSz" val="24"/>
            <dgm:constr type="lMarg" refType="w" fact="0.055"/>
            <dgm:constr type="rMarg" refType="w" fact="0.055"/>
            <dgm:constr type="tMarg" refType="h" fact="0.72"/>
            <dgm:constr type="bMarg" refType="h" fact="0.72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649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 defTabSz="923925">
              <a:defRPr sz="1200"/>
            </a:lvl1pPr>
          </a:lstStyle>
          <a:p>
            <a:endParaRPr lang="en-US"/>
          </a:p>
        </p:txBody>
      </p:sp>
      <p:sp>
        <p:nvSpPr>
          <p:cNvPr id="1689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3369" y="0"/>
            <a:ext cx="303703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 algn="r" defTabSz="923925">
              <a:defRPr sz="1200"/>
            </a:lvl1pPr>
          </a:lstStyle>
          <a:p>
            <a:endParaRPr lang="en-US"/>
          </a:p>
        </p:txBody>
      </p:sp>
      <p:sp>
        <p:nvSpPr>
          <p:cNvPr id="1689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4"/>
            <a:ext cx="3038649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defTabSz="923925">
              <a:defRPr sz="1200"/>
            </a:lvl1pPr>
          </a:lstStyle>
          <a:p>
            <a:endParaRPr lang="en-US"/>
          </a:p>
        </p:txBody>
      </p:sp>
      <p:sp>
        <p:nvSpPr>
          <p:cNvPr id="1689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3369" y="8831264"/>
            <a:ext cx="3037031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algn="r" defTabSz="923925">
              <a:defRPr sz="1200"/>
            </a:lvl1pPr>
          </a:lstStyle>
          <a:p>
            <a:fld id="{A87DC797-DFFE-459C-9D6A-C5FD14E4AA1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3541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649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 defTabSz="923925">
              <a:defRPr sz="1200"/>
            </a:lvl1pPr>
          </a:lstStyle>
          <a:p>
            <a:endParaRPr lang="en-US"/>
          </a:p>
        </p:txBody>
      </p:sp>
      <p:sp>
        <p:nvSpPr>
          <p:cNvPr id="1218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3369" y="0"/>
            <a:ext cx="3037031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 algn="r" defTabSz="923925">
              <a:defRPr sz="1200"/>
            </a:lvl1pPr>
          </a:lstStyle>
          <a:p>
            <a:endParaRPr lang="en-US"/>
          </a:p>
        </p:txBody>
      </p:sp>
      <p:sp>
        <p:nvSpPr>
          <p:cNvPr id="1218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9788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218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4721" y="4416426"/>
            <a:ext cx="5140960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18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4"/>
            <a:ext cx="3038649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defTabSz="923925">
              <a:defRPr sz="1200"/>
            </a:lvl1pPr>
          </a:lstStyle>
          <a:p>
            <a:endParaRPr lang="en-US"/>
          </a:p>
        </p:txBody>
      </p:sp>
      <p:sp>
        <p:nvSpPr>
          <p:cNvPr id="1218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3369" y="8831264"/>
            <a:ext cx="3037031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algn="r" defTabSz="923925">
              <a:defRPr sz="1200"/>
            </a:lvl1pPr>
          </a:lstStyle>
          <a:p>
            <a:fld id="{7E947070-08FA-49B9-A2D6-34510639987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6470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/>
              <a:t>Texas Children's Hospital 491-beds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21,661 admissions 2012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8,504 annual inpatient surgeries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14,840 outpatient surgerie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873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ention career dinn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2103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0869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3065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0509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ention that we have some really outstanding</a:t>
            </a:r>
            <a:r>
              <a:rPr lang="en-US" baseline="0" dirty="0"/>
              <a:t> PEM docs who work in the commun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3061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190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A0E7E22-B0B2-471E-989C-73AE2E58B728}" type="slidenum">
              <a:rPr lang="en-US"/>
              <a:pPr/>
              <a:t>32</a:t>
            </a:fld>
            <a:endParaRPr lang="en-US"/>
          </a:p>
        </p:txBody>
      </p:sp>
      <p:sp>
        <p:nvSpPr>
          <p:cNvPr id="146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6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ctures you prepare and give to residents and the section</a:t>
            </a:r>
          </a:p>
        </p:txBody>
      </p:sp>
    </p:spTree>
    <p:extLst>
      <p:ext uri="{BB962C8B-B14F-4D97-AF65-F5344CB8AC3E}">
        <p14:creationId xmlns:p14="http://schemas.microsoft.com/office/powerpoint/2010/main" val="11950597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67600FD-C8C6-4275-8E06-B578B3B84F32}" type="slidenum">
              <a:rPr lang="en-US"/>
              <a:pPr/>
              <a:t>33</a:t>
            </a:fld>
            <a:endParaRPr lang="en-US"/>
          </a:p>
        </p:txBody>
      </p:sp>
      <p:sp>
        <p:nvSpPr>
          <p:cNvPr id="172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20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idactic lectures prepared by our faculty and outside speakers to augment your education.</a:t>
            </a:r>
          </a:p>
        </p:txBody>
      </p:sp>
    </p:spTree>
    <p:extLst>
      <p:ext uri="{BB962C8B-B14F-4D97-AF65-F5344CB8AC3E}">
        <p14:creationId xmlns:p14="http://schemas.microsoft.com/office/powerpoint/2010/main" val="39035112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ndom and</a:t>
            </a:r>
            <a:r>
              <a:rPr lang="en-US" baseline="0" dirty="0"/>
              <a:t> </a:t>
            </a:r>
            <a:r>
              <a:rPr lang="en-US" baseline="0" dirty="0" err="1"/>
              <a:t>kaziny</a:t>
            </a:r>
            <a:r>
              <a:rPr lang="en-US" baseline="0" dirty="0"/>
              <a:t>, lit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4025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ndom and</a:t>
            </a:r>
            <a:r>
              <a:rPr lang="en-US" baseline="0" dirty="0"/>
              <a:t> </a:t>
            </a:r>
            <a:r>
              <a:rPr lang="en-US" baseline="0" dirty="0" err="1"/>
              <a:t>kaziny</a:t>
            </a:r>
            <a:r>
              <a:rPr lang="en-US" baseline="0" dirty="0"/>
              <a:t>, lit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271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/>
              <a:t>Texas Children's Hospital 491-beds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21,661 admissions 2012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8,504 annual inpatient surgeries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14,840 outpatient surgerie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5964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ndom and</a:t>
            </a:r>
            <a:r>
              <a:rPr lang="en-US" baseline="0" dirty="0"/>
              <a:t> </a:t>
            </a:r>
            <a:r>
              <a:rPr lang="en-US" baseline="0" dirty="0" err="1"/>
              <a:t>kaziny</a:t>
            </a:r>
            <a:r>
              <a:rPr lang="en-US" baseline="0" dirty="0"/>
              <a:t>, lit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2803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>
                <a:latin typeface="Gill Sans MT" pitchFamily="34" charset="0"/>
                <a:ea typeface="ＭＳ Ｐゴシック" panose="020B0600070205080204" pitchFamily="34" charset="-128"/>
                <a:cs typeface="Geneva" pitchFamily="-84" charset="0"/>
              </a:rPr>
              <a:t>Botswana cumulative 9 months, Malawi 4.5 months, Uganda 2 months, Belize 6 weeks, Colombia 2 weeks and Puerto Rico 2 weeks, ongoing projects in Rwanda, Guatemala and El Salvador and of course many GH activities here in Houst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481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ention</a:t>
            </a:r>
            <a:r>
              <a:rPr lang="en-US" baseline="0" dirty="0"/>
              <a:t> </a:t>
            </a:r>
            <a:r>
              <a:rPr lang="en-US" baseline="0" dirty="0" err="1"/>
              <a:t>Steph</a:t>
            </a:r>
            <a:r>
              <a:rPr lang="en-US" baseline="0" dirty="0"/>
              <a:t> Leung as wel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6381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f you do not complete</a:t>
            </a:r>
            <a:r>
              <a:rPr lang="en-US" baseline="0" dirty="0"/>
              <a:t> the 150 total scans as a fellow and apply for credentials, you will have to go through a number of proctored exams for each type, in order to be credentialed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9628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3680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dd </a:t>
            </a:r>
            <a:r>
              <a:rPr lang="en-US" dirty="0" err="1"/>
              <a:t>rohit</a:t>
            </a:r>
            <a:r>
              <a:rPr lang="en-US" dirty="0"/>
              <a:t> and </a:t>
            </a:r>
            <a:r>
              <a:rPr lang="en-US" dirty="0" err="1"/>
              <a:t>dann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59645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662709" y="9217026"/>
            <a:ext cx="58218" cy="123825"/>
          </a:xfrm>
          <a:noFill/>
        </p:spPr>
        <p:txBody>
          <a:bodyPr/>
          <a:lstStyle/>
          <a:p>
            <a:fld id="{6597E418-3285-4084-AC78-5C03DDDD602C}" type="slidenum">
              <a:rPr lang="en-US" smtClean="0">
                <a:latin typeface="Gill Sans MT" pitchFamily="34" charset="0"/>
              </a:rPr>
              <a:pPr/>
              <a:t>49</a:t>
            </a:fld>
            <a:endParaRPr lang="en-US">
              <a:latin typeface="Gill Sans MT" pitchFamily="34" charset="0"/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46833" y="4413250"/>
            <a:ext cx="4717263" cy="215900"/>
          </a:xfrm>
          <a:noFill/>
          <a:ln/>
        </p:spPr>
        <p:txBody>
          <a:bodyPr/>
          <a:lstStyle/>
          <a:p>
            <a:pPr eaLnBrk="1" hangingPunct="1"/>
            <a:endParaRPr lang="en-US">
              <a:latin typeface="Gill Sans MT" pitchFamily="34" charset="0"/>
              <a:ea typeface="Geneva"/>
              <a:cs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31284401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3"/>
          <p:cNvSpPr>
            <a:spLocks noGrp="1" noChangeArrowheads="1"/>
          </p:cNvSpPr>
          <p:nvPr>
            <p:ph type="dt" sz="quarter" idx="1"/>
          </p:nvPr>
        </p:nvSpPr>
        <p:spPr>
          <a:xfrm>
            <a:off x="3758208" y="9134071"/>
            <a:ext cx="1923605" cy="123111"/>
          </a:xfrm>
          <a:noFill/>
        </p:spPr>
        <p:txBody>
          <a:bodyPr/>
          <a:lstStyle/>
          <a:p>
            <a:r>
              <a:rPr lang="en-US" dirty="0">
                <a:latin typeface="Gill Sans MT" pitchFamily="34" charset="0"/>
              </a:rPr>
              <a:t> xxx00.#####.ppt  </a:t>
            </a:r>
            <a:fld id="{6EC8FD65-E82B-4205-8417-DE0D08756827}" type="datetime9">
              <a:rPr lang="en-US" smtClean="0">
                <a:latin typeface="Gill Sans MT" pitchFamily="34" charset="0"/>
              </a:rPr>
              <a:pPr/>
              <a:t>7/14/22 10:26:33 PM</a:t>
            </a:fld>
            <a:endParaRPr lang="en-US" dirty="0">
              <a:latin typeface="Gill Sans MT" pitchFamily="34" charset="0"/>
            </a:endParaRPr>
          </a:p>
        </p:txBody>
      </p:sp>
      <p:sp>
        <p:nvSpPr>
          <p:cNvPr id="70659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299349" y="9134071"/>
            <a:ext cx="184345" cy="123111"/>
          </a:xfrm>
          <a:noFill/>
        </p:spPr>
        <p:txBody>
          <a:bodyPr/>
          <a:lstStyle/>
          <a:p>
            <a:r>
              <a:rPr lang="en-US" dirty="0">
                <a:latin typeface="Gill Sans MT" pitchFamily="34" charset="0"/>
              </a:rPr>
              <a:t> P.</a:t>
            </a:r>
            <a:fld id="{110ED56C-E1A0-4679-B5C0-151F198BAC48}" type="slidenum">
              <a:rPr lang="en-US" smtClean="0">
                <a:latin typeface="Gill Sans MT" pitchFamily="34" charset="0"/>
              </a:rPr>
              <a:pPr/>
              <a:t>50</a:t>
            </a:fld>
            <a:endParaRPr lang="en-US" dirty="0">
              <a:latin typeface="Gill Sans MT" pitchFamily="34" charset="0"/>
            </a:endParaRPr>
          </a:p>
        </p:txBody>
      </p:sp>
      <p:sp>
        <p:nvSpPr>
          <p:cNvPr id="706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6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02823" y="4373720"/>
            <a:ext cx="4550754" cy="1015663"/>
          </a:xfrm>
          <a:noFill/>
          <a:ln/>
        </p:spPr>
        <p:txBody>
          <a:bodyPr/>
          <a:lstStyle/>
          <a:p>
            <a:pPr lvl="1"/>
            <a:r>
              <a:rPr lang="en-US" dirty="0">
                <a:latin typeface="Gill Sans MT" pitchFamily="34" charset="0"/>
                <a:ea typeface="Geneva"/>
                <a:cs typeface="Geneva"/>
              </a:rPr>
              <a:t>Text</a:t>
            </a:r>
          </a:p>
          <a:p>
            <a:pPr lvl="2"/>
            <a:r>
              <a:rPr lang="en-US" dirty="0">
                <a:latin typeface="Gill Sans MT" pitchFamily="34" charset="0"/>
                <a:ea typeface="Geneva"/>
                <a:cs typeface="Geneva"/>
              </a:rPr>
              <a:t>Text</a:t>
            </a:r>
          </a:p>
          <a:p>
            <a:pPr lvl="3"/>
            <a:r>
              <a:rPr lang="en-US" dirty="0">
                <a:latin typeface="Gill Sans MT" pitchFamily="34" charset="0"/>
                <a:ea typeface="Geneva"/>
                <a:cs typeface="Geneva"/>
              </a:rPr>
              <a:t>Text</a:t>
            </a:r>
          </a:p>
          <a:p>
            <a:pPr lvl="4"/>
            <a:r>
              <a:rPr lang="en-US" dirty="0">
                <a:latin typeface="Gill Sans MT" pitchFamily="34" charset="0"/>
                <a:ea typeface="Geneva"/>
                <a:cs typeface="Geneva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6181747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r>
              <a:rPr lang="en-US">
                <a:latin typeface="Gill Sans MT" pitchFamily="34" charset="0"/>
              </a:rPr>
              <a:t> xxx00.#####.ppt  </a:t>
            </a:r>
            <a:fld id="{A6D5CBC8-6C81-412B-B2DD-6103AD72BA03}" type="datetime9">
              <a:rPr lang="en-US" smtClean="0">
                <a:latin typeface="Gill Sans MT" pitchFamily="34" charset="0"/>
              </a:rPr>
              <a:pPr/>
              <a:t>7/14/22 10:26:33 PM</a:t>
            </a:fld>
            <a:endParaRPr lang="en-US">
              <a:latin typeface="Gill Sans MT" pitchFamily="34" charset="0"/>
            </a:endParaRPr>
          </a:p>
        </p:txBody>
      </p:sp>
      <p:sp>
        <p:nvSpPr>
          <p:cNvPr id="8397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en-US">
                <a:latin typeface="Gill Sans MT" pitchFamily="34" charset="0"/>
              </a:rPr>
              <a:t> P.</a:t>
            </a:r>
            <a:fld id="{091853B4-D5E8-4120-BB72-0FEF2D4240DC}" type="slidenum">
              <a:rPr lang="en-US" smtClean="0">
                <a:latin typeface="Gill Sans MT" pitchFamily="34" charset="0"/>
              </a:rPr>
              <a:pPr/>
              <a:t>52</a:t>
            </a:fld>
            <a:endParaRPr lang="en-US">
              <a:latin typeface="Gill Sans MT" pitchFamily="34" charset="0"/>
            </a:endParaRPr>
          </a:p>
        </p:txBody>
      </p:sp>
      <p:sp>
        <p:nvSpPr>
          <p:cNvPr id="8397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397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46833" y="4413251"/>
            <a:ext cx="4717263" cy="1006475"/>
          </a:xfrm>
          <a:noFill/>
          <a:ln/>
        </p:spPr>
        <p:txBody>
          <a:bodyPr/>
          <a:lstStyle/>
          <a:p>
            <a:pPr lvl="1"/>
            <a:r>
              <a:rPr lang="en-US">
                <a:latin typeface="Gill Sans MT" pitchFamily="34" charset="0"/>
                <a:ea typeface="Geneva"/>
                <a:cs typeface="Geneva"/>
              </a:rPr>
              <a:t>Text</a:t>
            </a:r>
          </a:p>
          <a:p>
            <a:pPr lvl="2"/>
            <a:r>
              <a:rPr lang="en-US">
                <a:latin typeface="Gill Sans MT" pitchFamily="34" charset="0"/>
                <a:ea typeface="Geneva"/>
                <a:cs typeface="Geneva"/>
              </a:rPr>
              <a:t>Text</a:t>
            </a:r>
          </a:p>
          <a:p>
            <a:pPr lvl="3"/>
            <a:r>
              <a:rPr lang="en-US">
                <a:latin typeface="Gill Sans MT" pitchFamily="34" charset="0"/>
                <a:ea typeface="Geneva"/>
                <a:cs typeface="Geneva"/>
              </a:rPr>
              <a:t>Text</a:t>
            </a:r>
          </a:p>
          <a:p>
            <a:pPr lvl="4"/>
            <a:r>
              <a:rPr lang="en-US">
                <a:latin typeface="Gill Sans MT" pitchFamily="34" charset="0"/>
                <a:ea typeface="Geneva"/>
                <a:cs typeface="Geneva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4529095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662709" y="9217026"/>
            <a:ext cx="58218" cy="123825"/>
          </a:xfrm>
          <a:noFill/>
        </p:spPr>
        <p:txBody>
          <a:bodyPr/>
          <a:lstStyle/>
          <a:p>
            <a:fld id="{A4AA7D6F-E37D-44B2-BFB5-E96E1C14D21B}" type="slidenum">
              <a:rPr lang="en-US" smtClean="0">
                <a:latin typeface="Gill Sans MT" pitchFamily="34" charset="0"/>
              </a:rPr>
              <a:pPr/>
              <a:t>56</a:t>
            </a:fld>
            <a:endParaRPr lang="en-US">
              <a:latin typeface="Gill Sans MT" pitchFamily="34" charset="0"/>
            </a:endParaRPr>
          </a:p>
        </p:txBody>
      </p:sp>
      <p:sp>
        <p:nvSpPr>
          <p:cNvPr id="962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62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46833" y="4413250"/>
            <a:ext cx="4717263" cy="215900"/>
          </a:xfrm>
          <a:noFill/>
          <a:ln/>
        </p:spPr>
        <p:txBody>
          <a:bodyPr/>
          <a:lstStyle/>
          <a:p>
            <a:pPr eaLnBrk="1" hangingPunct="1"/>
            <a:endParaRPr lang="en-US" dirty="0">
              <a:latin typeface="Gill Sans MT" pitchFamily="34" charset="0"/>
              <a:ea typeface="Geneva"/>
              <a:cs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40523413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r>
              <a:rPr lang="en-US">
                <a:latin typeface="Gill Sans MT" pitchFamily="34" charset="0"/>
              </a:rPr>
              <a:t> xxx00.#####.ppt  </a:t>
            </a:r>
            <a:fld id="{D1D98946-6634-4460-A690-9422696C46BB}" type="datetime9">
              <a:rPr lang="en-US" smtClean="0">
                <a:latin typeface="Gill Sans MT" pitchFamily="34" charset="0"/>
              </a:rPr>
              <a:pPr/>
              <a:t>7/14/22 10:32:28 PM</a:t>
            </a:fld>
            <a:endParaRPr lang="en-US">
              <a:latin typeface="Gill Sans MT" pitchFamily="34" charset="0"/>
            </a:endParaRPr>
          </a:p>
        </p:txBody>
      </p:sp>
      <p:sp>
        <p:nvSpPr>
          <p:cNvPr id="1945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en-US">
                <a:latin typeface="Gill Sans MT" pitchFamily="34" charset="0"/>
              </a:rPr>
              <a:t> P.</a:t>
            </a:r>
            <a:fld id="{5F796DB4-43CE-490C-8210-471E523DAE4A}" type="slidenum">
              <a:rPr lang="en-US" smtClean="0">
                <a:latin typeface="Gill Sans MT" pitchFamily="34" charset="0"/>
              </a:rPr>
              <a:pPr/>
              <a:t>4</a:t>
            </a:fld>
            <a:endParaRPr lang="en-US">
              <a:latin typeface="Gill Sans MT" pitchFamily="34" charset="0"/>
            </a:endParaRPr>
          </a:p>
        </p:txBody>
      </p:sp>
      <p:sp>
        <p:nvSpPr>
          <p:cNvPr id="19460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1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1212433" y="4367754"/>
            <a:ext cx="4587109" cy="996099"/>
          </a:xfrm>
          <a:noFill/>
          <a:ln/>
        </p:spPr>
        <p:txBody>
          <a:bodyPr/>
          <a:lstStyle/>
          <a:p>
            <a:pPr lvl="1"/>
            <a:r>
              <a:rPr lang="en-US" dirty="0">
                <a:latin typeface="Gill Sans MT" pitchFamily="34" charset="0"/>
                <a:ea typeface="Geneva"/>
                <a:cs typeface="Geneva"/>
              </a:rPr>
              <a:t>Different motif, more science</a:t>
            </a:r>
          </a:p>
          <a:p>
            <a:pPr lvl="2"/>
            <a:r>
              <a:rPr lang="en-US" dirty="0">
                <a:latin typeface="Gill Sans MT" pitchFamily="34" charset="0"/>
                <a:ea typeface="Geneva"/>
                <a:cs typeface="Geneva"/>
              </a:rPr>
              <a:t>Text</a:t>
            </a:r>
          </a:p>
          <a:p>
            <a:pPr lvl="3"/>
            <a:r>
              <a:rPr lang="en-US" dirty="0">
                <a:latin typeface="Gill Sans MT" pitchFamily="34" charset="0"/>
                <a:ea typeface="Geneva"/>
                <a:cs typeface="Geneva"/>
              </a:rPr>
              <a:t>Text</a:t>
            </a:r>
          </a:p>
          <a:p>
            <a:pPr lvl="4"/>
            <a:r>
              <a:rPr lang="en-US" dirty="0">
                <a:latin typeface="Gill Sans MT" pitchFamily="34" charset="0"/>
                <a:ea typeface="Geneva"/>
                <a:cs typeface="Geneva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5061313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662709" y="9217026"/>
            <a:ext cx="58218" cy="123825"/>
          </a:xfrm>
          <a:noFill/>
        </p:spPr>
        <p:txBody>
          <a:bodyPr/>
          <a:lstStyle/>
          <a:p>
            <a:fld id="{28C000C7-0893-4BA5-9ECC-BDAC56401A5A}" type="slidenum">
              <a:rPr lang="en-US" smtClean="0">
                <a:latin typeface="Gill Sans MT" pitchFamily="34" charset="0"/>
              </a:rPr>
              <a:pPr/>
              <a:t>57</a:t>
            </a:fld>
            <a:endParaRPr lang="en-US">
              <a:latin typeface="Gill Sans MT" pitchFamily="34" charset="0"/>
            </a:endParaRPr>
          </a:p>
        </p:txBody>
      </p:sp>
      <p:sp>
        <p:nvSpPr>
          <p:cNvPr id="983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3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46833" y="4413250"/>
            <a:ext cx="4717263" cy="215900"/>
          </a:xfrm>
          <a:noFill/>
          <a:ln/>
        </p:spPr>
        <p:txBody>
          <a:bodyPr/>
          <a:lstStyle/>
          <a:p>
            <a:pPr eaLnBrk="1" hangingPunct="1"/>
            <a:endParaRPr lang="en-US">
              <a:latin typeface="Gill Sans MT" pitchFamily="34" charset="0"/>
              <a:ea typeface="Geneva"/>
              <a:cs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31073258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662709" y="9217026"/>
            <a:ext cx="58218" cy="123825"/>
          </a:xfrm>
          <a:noFill/>
        </p:spPr>
        <p:txBody>
          <a:bodyPr/>
          <a:lstStyle/>
          <a:p>
            <a:fld id="{39CCCC8B-2652-467B-B70A-C3C8DD86A41E}" type="slidenum">
              <a:rPr lang="en-US" smtClean="0">
                <a:latin typeface="Gill Sans MT" pitchFamily="34" charset="0"/>
              </a:rPr>
              <a:pPr/>
              <a:t>59</a:t>
            </a:fld>
            <a:endParaRPr lang="en-US">
              <a:latin typeface="Gill Sans MT" pitchFamily="34" charset="0"/>
            </a:endParaRPr>
          </a:p>
        </p:txBody>
      </p:sp>
      <p:sp>
        <p:nvSpPr>
          <p:cNvPr id="993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93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46833" y="4413250"/>
            <a:ext cx="4717263" cy="215900"/>
          </a:xfrm>
          <a:noFill/>
          <a:ln/>
        </p:spPr>
        <p:txBody>
          <a:bodyPr/>
          <a:lstStyle/>
          <a:p>
            <a:pPr eaLnBrk="1" hangingPunct="1"/>
            <a:endParaRPr lang="en-US">
              <a:latin typeface="Gill Sans MT" pitchFamily="34" charset="0"/>
              <a:ea typeface="Geneva"/>
              <a:cs typeface="Geneva"/>
            </a:endParaRPr>
          </a:p>
        </p:txBody>
      </p:sp>
    </p:spTree>
    <p:extLst>
      <p:ext uri="{BB962C8B-B14F-4D97-AF65-F5344CB8AC3E}">
        <p14:creationId xmlns:p14="http://schemas.microsoft.com/office/powerpoint/2010/main" val="227794905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98369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60765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r>
              <a:rPr lang="en-US">
                <a:latin typeface="Gill Sans MT" pitchFamily="34" charset="0"/>
              </a:rPr>
              <a:t> xxx00.#####.ppt  </a:t>
            </a:r>
            <a:fld id="{D1D98946-6634-4460-A690-9422696C46BB}" type="datetime9">
              <a:rPr lang="en-US" smtClean="0">
                <a:latin typeface="Gill Sans MT" pitchFamily="34" charset="0"/>
              </a:rPr>
              <a:pPr/>
              <a:t>7/14/22 10:48:50 PM</a:t>
            </a:fld>
            <a:endParaRPr lang="en-US">
              <a:latin typeface="Gill Sans MT" pitchFamily="34" charset="0"/>
            </a:endParaRPr>
          </a:p>
        </p:txBody>
      </p:sp>
      <p:sp>
        <p:nvSpPr>
          <p:cNvPr id="1945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r>
              <a:rPr lang="en-US">
                <a:latin typeface="Gill Sans MT" pitchFamily="34" charset="0"/>
              </a:rPr>
              <a:t> P.</a:t>
            </a:r>
            <a:fld id="{5F796DB4-43CE-490C-8210-471E523DAE4A}" type="slidenum">
              <a:rPr lang="en-US" smtClean="0">
                <a:latin typeface="Gill Sans MT" pitchFamily="34" charset="0"/>
              </a:rPr>
              <a:pPr/>
              <a:t>64</a:t>
            </a:fld>
            <a:endParaRPr lang="en-US">
              <a:latin typeface="Gill Sans MT" pitchFamily="34" charset="0"/>
            </a:endParaRPr>
          </a:p>
        </p:txBody>
      </p:sp>
      <p:sp>
        <p:nvSpPr>
          <p:cNvPr id="19460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1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1212433" y="4367754"/>
            <a:ext cx="4587109" cy="996099"/>
          </a:xfrm>
          <a:noFill/>
          <a:ln/>
        </p:spPr>
        <p:txBody>
          <a:bodyPr/>
          <a:lstStyle/>
          <a:p>
            <a:pPr lvl="1"/>
            <a:r>
              <a:rPr lang="en-US" dirty="0">
                <a:latin typeface="Gill Sans MT" pitchFamily="34" charset="0"/>
                <a:ea typeface="Geneva"/>
                <a:cs typeface="Geneva"/>
              </a:rPr>
              <a:t>Different motif, more science</a:t>
            </a:r>
          </a:p>
          <a:p>
            <a:pPr lvl="2"/>
            <a:r>
              <a:rPr lang="en-US" dirty="0">
                <a:latin typeface="Gill Sans MT" pitchFamily="34" charset="0"/>
                <a:ea typeface="Geneva"/>
                <a:cs typeface="Geneva"/>
              </a:rPr>
              <a:t>Text</a:t>
            </a:r>
          </a:p>
          <a:p>
            <a:pPr lvl="3"/>
            <a:r>
              <a:rPr lang="en-US" dirty="0">
                <a:latin typeface="Gill Sans MT" pitchFamily="34" charset="0"/>
                <a:ea typeface="Geneva"/>
                <a:cs typeface="Geneva"/>
              </a:rPr>
              <a:t>Text</a:t>
            </a:r>
          </a:p>
          <a:p>
            <a:pPr lvl="4"/>
            <a:r>
              <a:rPr lang="en-US" dirty="0">
                <a:latin typeface="Gill Sans MT" pitchFamily="34" charset="0"/>
                <a:ea typeface="Geneva"/>
                <a:cs typeface="Geneva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54710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9254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3615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kumimoji="1" lang="en-US" sz="120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ec</a:t>
            </a:r>
            <a:r>
              <a:rPr kumimoji="1"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20 beds</a:t>
            </a:r>
          </a:p>
          <a:p>
            <a:pPr rtl="0"/>
            <a:r>
              <a:rPr kumimoji="1"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5th floor-32 acute care beds</a:t>
            </a:r>
          </a:p>
          <a:p>
            <a:pPr rtl="0"/>
            <a:r>
              <a:rPr kumimoji="1" lang="en-US" sz="1200" kern="120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4th floor, 14 bed PICU, 14 bed level 3 NICU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453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DB305-F750-4312-8A5F-54AA44528FF1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6280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1B4CDEB-B479-4E1E-B2F3-F5175903F738}" type="slidenum">
              <a:rPr lang="en-US"/>
              <a:pPr/>
              <a:t>15</a:t>
            </a:fld>
            <a:endParaRPr lang="en-US"/>
          </a:p>
        </p:txBody>
      </p:sp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ducational didactic series will include topics such as curriculum development, delivery of information, provision of feedback to learners and assessment of educational outcomes.</a:t>
            </a:r>
          </a:p>
        </p:txBody>
      </p:sp>
    </p:spTree>
    <p:extLst>
      <p:ext uri="{BB962C8B-B14F-4D97-AF65-F5344CB8AC3E}">
        <p14:creationId xmlns:p14="http://schemas.microsoft.com/office/powerpoint/2010/main" val="33391352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alk about Dr.</a:t>
            </a:r>
            <a:r>
              <a:rPr lang="en-US" baseline="0" dirty="0"/>
              <a:t> Shook, Dr. Sirbaug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947070-08FA-49B9-A2D6-34510639987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867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kumimoji="0"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FE57670D-E64B-4725-BDBB-57A9909896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pic>
        <p:nvPicPr>
          <p:cNvPr id="9" name="Picture 8" descr="tchlogo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28600" y="6096000"/>
            <a:ext cx="719328" cy="5619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9702" y="6182228"/>
            <a:ext cx="586596" cy="589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5347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53200" y="6248402"/>
            <a:ext cx="2209800" cy="365125"/>
          </a:xfrm>
        </p:spPr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1" y="6248207"/>
            <a:ext cx="5573483" cy="365125"/>
          </a:xfrm>
        </p:spPr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7" name="Rectangle 6"/>
          <p:cNvSpPr/>
          <p:nvPr/>
        </p:nvSpPr>
        <p:spPr bwMode="white">
          <a:xfrm>
            <a:off x="6096318" y="0"/>
            <a:ext cx="32004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6"/>
          </a:xfrm>
        </p:spPr>
        <p:txBody>
          <a:bodyPr/>
          <a:lstStyle/>
          <a:p>
            <a:fld id="{7C0CA7E7-4387-4ECC-A43B-BF50A04CF0E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4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3" y="0"/>
            <a:ext cx="9140825" cy="6860117"/>
            <a:chOff x="0" y="0"/>
            <a:chExt cx="5643" cy="4235"/>
          </a:xfrm>
        </p:grpSpPr>
        <p:sp>
          <p:nvSpPr>
            <p:cNvPr id="5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6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7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6"/>
              <a:ext cx="2772" cy="15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863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8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19963" y="6574368"/>
            <a:ext cx="1670050" cy="19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doc id"/>
          <p:cNvSpPr txBox="1">
            <a:spLocks noChangeArrowheads="1"/>
          </p:cNvSpPr>
          <p:nvPr/>
        </p:nvSpPr>
        <p:spPr bwMode="auto">
          <a:xfrm>
            <a:off x="8613778" y="38102"/>
            <a:ext cx="301625" cy="12488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13" name="Straight Arrow Connector 2"/>
          <p:cNvCxnSpPr/>
          <p:nvPr/>
        </p:nvCxnSpPr>
        <p:spPr>
          <a:xfrm>
            <a:off x="3789363" y="0"/>
            <a:ext cx="0" cy="6860117"/>
          </a:xfrm>
          <a:prstGeom prst="straightConnector1">
            <a:avLst/>
          </a:prstGeom>
          <a:ln>
            <a:solidFill>
              <a:srgbClr val="C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8" descr="TCH_Stacked.eps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4213" y="2156884"/>
            <a:ext cx="2417762" cy="2114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54136" y="3856117"/>
            <a:ext cx="3996205" cy="215444"/>
          </a:xfrm>
        </p:spPr>
        <p:txBody>
          <a:bodyPr>
            <a:spAutoFit/>
          </a:bodyPr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54135" y="2679229"/>
            <a:ext cx="3996205" cy="984885"/>
          </a:xfrm>
        </p:spPr>
        <p:txBody>
          <a:bodyPr anchor="b"/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cxnSp>
        <p:nvCxnSpPr>
          <p:cNvPr id="15" name="Straight Connector 14"/>
          <p:cNvCxnSpPr/>
          <p:nvPr/>
        </p:nvCxnSpPr>
        <p:spPr bwMode="gray">
          <a:xfrm flipV="1">
            <a:off x="4354513" y="3759056"/>
            <a:ext cx="4437062" cy="2117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2"/>
          <p:cNvCxnSpPr/>
          <p:nvPr userDrawn="1"/>
        </p:nvCxnSpPr>
        <p:spPr>
          <a:xfrm>
            <a:off x="3789363" y="0"/>
            <a:ext cx="0" cy="6860117"/>
          </a:xfrm>
          <a:prstGeom prst="straightConnector1">
            <a:avLst/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8" descr="TCH_Stacked.eps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4213" y="2156884"/>
            <a:ext cx="2417762" cy="2114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Straight Connector 17"/>
          <p:cNvCxnSpPr/>
          <p:nvPr userDrawn="1"/>
        </p:nvCxnSpPr>
        <p:spPr bwMode="gray">
          <a:xfrm flipV="1">
            <a:off x="4354513" y="3759056"/>
            <a:ext cx="4437062" cy="211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77575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5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fontAlgn="auto">
                <a:spcBef>
                  <a:spcPts val="0"/>
                </a:spcBef>
                <a:spcAft>
                  <a:spcPts val="0"/>
                </a:spcAft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8" name="Straight Connector 18"/>
          <p:cNvCxnSpPr/>
          <p:nvPr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13" y="234951"/>
            <a:ext cx="8793162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292636" y="1339532"/>
            <a:ext cx="6566833" cy="2883145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28600" indent="-227013"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2pPr>
            <a:lvl3pPr marL="457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3pPr>
            <a:lvl4pPr marL="685800" indent="-227013"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4pPr>
            <a:lvl5pPr marL="914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280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4472785" y="6565902"/>
            <a:ext cx="198437" cy="156633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algn="ctr">
              <a:defRPr/>
            </a:pPr>
            <a:fld id="{55D8B07A-5C7F-436B-B8B8-491EB126E4B0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pPr algn="ctr">
                <a:defRPr/>
              </a:pPr>
              <a:t>‹#›</a:t>
            </a:fld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 </a:t>
            </a:r>
          </a:p>
        </p:txBody>
      </p:sp>
      <p:pic>
        <p:nvPicPr>
          <p:cNvPr id="11" name="Picture 18" descr="TCH_Stacked.eps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8673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" name="McK Slide Elements"/>
          <p:cNvGrpSpPr>
            <a:grpSpLocks/>
          </p:cNvGrpSpPr>
          <p:nvPr userDrawn="1"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1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15" name="Straight Connector 18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8" descr="TCH_Stacked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8673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48944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fontAlgn="auto">
                <a:spcBef>
                  <a:spcPts val="0"/>
                </a:spcBef>
                <a:spcAft>
                  <a:spcPts val="0"/>
                </a:spcAft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6" name="Straight Connector 9"/>
          <p:cNvCxnSpPr/>
          <p:nvPr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1"/>
            <a:ext cx="8793162" cy="369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280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4472785" y="6565902"/>
            <a:ext cx="198437" cy="156633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F75CCDF4-A227-4B61-BBBA-6526FA5D93AE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 </a:t>
            </a:r>
          </a:p>
        </p:txBody>
      </p:sp>
      <p:pic>
        <p:nvPicPr>
          <p:cNvPr id="9" name="Picture 18" descr="TCH_Stacked.eps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5498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McK Slide Elements"/>
          <p:cNvGrpSpPr>
            <a:grpSpLocks/>
          </p:cNvGrpSpPr>
          <p:nvPr userDrawn="1"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1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2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13" name="Straight Connector 9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8" descr="TCH_Stacked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5498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29222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fontAlgn="auto">
                <a:spcBef>
                  <a:spcPts val="0"/>
                </a:spcBef>
                <a:spcAft>
                  <a:spcPts val="0"/>
                </a:spcAft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5" name="Straight Connector 8"/>
          <p:cNvCxnSpPr/>
          <p:nvPr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4472785" y="6565902"/>
            <a:ext cx="198437" cy="156633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9985F250-9383-427B-8F55-0048FD6BC082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 </a:t>
            </a:r>
          </a:p>
        </p:txBody>
      </p:sp>
      <p:pic>
        <p:nvPicPr>
          <p:cNvPr id="9" name="Picture 18" descr="TCH_Stacked.eps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5498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McK Slide Elements"/>
          <p:cNvGrpSpPr>
            <a:grpSpLocks/>
          </p:cNvGrpSpPr>
          <p:nvPr userDrawn="1"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10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1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12" name="Straight Connector 8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8" descr="TCH_Stacked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5498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141310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5159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rgbClr val="E7E1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 defTabSz="45715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5" name="Picture 2" descr="FKP WHITE BUTTERFLY4.png"/>
          <p:cNvPicPr>
            <a:picLocks noChangeAspect="1"/>
          </p:cNvPicPr>
          <p:nvPr/>
        </p:nvPicPr>
        <p:blipFill>
          <a:blip r:embed="rId2" cstate="print"/>
          <a:srcRect r="16667"/>
          <a:stretch>
            <a:fillRect/>
          </a:stretch>
        </p:blipFill>
        <p:spPr bwMode="auto">
          <a:xfrm>
            <a:off x="7962900" y="-245533"/>
            <a:ext cx="1181100" cy="1551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56" y="0"/>
            <a:ext cx="8229600" cy="123139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>
                <a:solidFill>
                  <a:srgbClr val="D85E20"/>
                </a:solidFill>
                <a:latin typeface="HelveticaNeueLT Std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393192" y="1600202"/>
            <a:ext cx="8229600" cy="4525433"/>
          </a:xfrm>
          <a:prstGeom prst="rect">
            <a:avLst/>
          </a:prstGeom>
        </p:spPr>
        <p:txBody>
          <a:bodyPr/>
          <a:lstStyle>
            <a:lvl1pPr indent="-274320">
              <a:buClr>
                <a:srgbClr val="595A5A"/>
              </a:buClr>
              <a:buSzPct val="90000"/>
              <a:buFont typeface="Wingdings" pitchFamily="2" charset="2"/>
              <a:buChar char="§"/>
              <a:defRPr sz="2200">
                <a:solidFill>
                  <a:srgbClr val="595A5A"/>
                </a:solidFill>
                <a:latin typeface="HelveticaNeueLT Std" pitchFamily="34" charset="0"/>
              </a:defRPr>
            </a:lvl1pPr>
            <a:lvl2pPr marL="658368">
              <a:defRPr sz="2000">
                <a:solidFill>
                  <a:srgbClr val="595A5A"/>
                </a:solidFill>
                <a:latin typeface="HelveticaNeueLT Std" pitchFamily="34" charset="0"/>
              </a:defRPr>
            </a:lvl2pPr>
            <a:lvl3pPr marL="896112">
              <a:buClr>
                <a:srgbClr val="595A5A"/>
              </a:buClr>
              <a:buSzPct val="90000"/>
              <a:buFont typeface="Wingdings" pitchFamily="2" charset="2"/>
              <a:buChar char="§"/>
              <a:defRPr sz="2000">
                <a:solidFill>
                  <a:srgbClr val="595A5A"/>
                </a:solidFill>
                <a:latin typeface="HelveticaNeueLT Std" pitchFamily="34" charset="0"/>
              </a:defRPr>
            </a:lvl3pPr>
            <a:lvl4pPr>
              <a:defRPr sz="1800">
                <a:solidFill>
                  <a:schemeClr val="tx1"/>
                </a:solidFill>
                <a:latin typeface="HelveticaNeueLT Std" pitchFamily="34" charset="0"/>
              </a:defRPr>
            </a:lvl4pPr>
            <a:lvl5pPr>
              <a:defRPr sz="1800">
                <a:solidFill>
                  <a:schemeClr val="tx1"/>
                </a:solidFill>
                <a:latin typeface="HelveticaNeueLT Std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rgbClr val="E7E1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 defTabSz="45715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7" name="Picture 2" descr="FKP WHITE BUTTERFLY4.png"/>
          <p:cNvPicPr>
            <a:picLocks noChangeAspect="1"/>
          </p:cNvPicPr>
          <p:nvPr userDrawn="1"/>
        </p:nvPicPr>
        <p:blipFill>
          <a:blip r:embed="rId2" cstate="print"/>
          <a:srcRect r="16667"/>
          <a:stretch>
            <a:fillRect/>
          </a:stretch>
        </p:blipFill>
        <p:spPr bwMode="auto">
          <a:xfrm>
            <a:off x="7962900" y="-245533"/>
            <a:ext cx="1181100" cy="1551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007159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22238" y="234951"/>
            <a:ext cx="8793162" cy="33464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7447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3" y="0"/>
            <a:ext cx="9140825" cy="6860117"/>
            <a:chOff x="0" y="0"/>
            <a:chExt cx="5643" cy="4235"/>
          </a:xfrm>
        </p:grpSpPr>
        <p:sp>
          <p:nvSpPr>
            <p:cNvPr id="5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6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7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6"/>
              <a:ext cx="2772" cy="15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863" eaLnBrk="0" hangingPunct="0">
                <a:defRPr/>
              </a:pP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8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19963" y="6574368"/>
            <a:ext cx="1670050" cy="19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doc id"/>
          <p:cNvSpPr txBox="1">
            <a:spLocks noChangeArrowheads="1"/>
          </p:cNvSpPr>
          <p:nvPr/>
        </p:nvSpPr>
        <p:spPr bwMode="auto">
          <a:xfrm>
            <a:off x="8613778" y="38102"/>
            <a:ext cx="301625" cy="12488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13" name="Straight Arrow Connector 2"/>
          <p:cNvCxnSpPr/>
          <p:nvPr userDrawn="1"/>
        </p:nvCxnSpPr>
        <p:spPr>
          <a:xfrm>
            <a:off x="3789363" y="0"/>
            <a:ext cx="0" cy="6860117"/>
          </a:xfrm>
          <a:prstGeom prst="straightConnector1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8" descr="TCH_Stacked.eps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800" y="3865283"/>
            <a:ext cx="2417762" cy="2114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54136" y="3856118"/>
            <a:ext cx="3996205" cy="307777"/>
          </a:xfrm>
        </p:spPr>
        <p:txBody>
          <a:bodyPr>
            <a:sp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54135" y="2556117"/>
            <a:ext cx="3996205" cy="1107996"/>
          </a:xfrm>
        </p:spPr>
        <p:txBody>
          <a:bodyPr anchor="b"/>
          <a:lstStyle>
            <a:lvl1pPr>
              <a:defRPr sz="3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 flipV="1">
            <a:off x="4354513" y="3759056"/>
            <a:ext cx="4437062" cy="2117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052" y="899179"/>
            <a:ext cx="1581258" cy="2108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907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5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fontAlgn="auto">
                <a:spcBef>
                  <a:spcPts val="0"/>
                </a:spcBef>
                <a:spcAft>
                  <a:spcPts val="0"/>
                </a:spcAft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8" name="Straight Connector 18"/>
          <p:cNvCxnSpPr/>
          <p:nvPr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4951"/>
            <a:ext cx="8613775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4799" y="1193800"/>
            <a:ext cx="8613776" cy="46736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>
              <a:buClr>
                <a:srgbClr val="002060"/>
              </a:buCl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buClr>
                <a:srgbClr val="88384B"/>
              </a:buClr>
              <a:defRPr sz="1800">
                <a:solidFill>
                  <a:schemeClr val="tx1"/>
                </a:solidFill>
              </a:defRPr>
            </a:lvl4pPr>
            <a:lvl5pPr marL="914400" indent="-2286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8" descr="TCH_Stacked.eps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8673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" name="McK Slide Elements"/>
          <p:cNvGrpSpPr>
            <a:grpSpLocks/>
          </p:cNvGrpSpPr>
          <p:nvPr userDrawn="1"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1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15" name="Straight Connector 18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8" descr="TCH_Stacked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8673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6402195"/>
            <a:ext cx="328697" cy="43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101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pic>
        <p:nvPicPr>
          <p:cNvPr id="11" name="Picture 10" descr="tchlogo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04800" y="5943600"/>
            <a:ext cx="914400" cy="7143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8496" y="152400"/>
            <a:ext cx="1213104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88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McK Slide Elements"/>
          <p:cNvGrpSpPr>
            <a:grpSpLocks/>
          </p:cNvGrpSpPr>
          <p:nvPr userDrawn="1"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6" name="Straight Connector 9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1"/>
            <a:ext cx="8793162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18" descr="TCH_Stacked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5498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6402195"/>
            <a:ext cx="328697" cy="43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9617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 userDrawn="1"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5" name="Straight Connector 8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8" descr="TCH_Stacked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5498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6402195"/>
            <a:ext cx="328697" cy="43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2145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50052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 marL="0" indent="0">
              <a:buNone/>
              <a:defRPr sz="2800"/>
            </a:lvl1pPr>
            <a:lvl2pPr>
              <a:buClr>
                <a:srgbClr val="002060"/>
              </a:buClr>
              <a:defRPr sz="2400"/>
            </a:lvl2pPr>
            <a:lvl3pPr>
              <a:defRPr sz="2000"/>
            </a:lvl3pPr>
            <a:lvl4pPr>
              <a:buClr>
                <a:srgbClr val="C00000"/>
              </a:buCl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18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6402195"/>
            <a:ext cx="328697" cy="438263"/>
          </a:xfrm>
          <a:prstGeom prst="rect">
            <a:avLst/>
          </a:prstGeom>
        </p:spPr>
      </p:pic>
      <p:pic>
        <p:nvPicPr>
          <p:cNvPr id="10" name="Picture 18" descr="TCH_Stacked.eps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15498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761733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3" y="0"/>
            <a:ext cx="9140825" cy="6860117"/>
            <a:chOff x="0" y="0"/>
            <a:chExt cx="5643" cy="4235"/>
          </a:xfrm>
        </p:grpSpPr>
        <p:sp>
          <p:nvSpPr>
            <p:cNvPr id="5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6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7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6"/>
              <a:ext cx="2772" cy="15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863" eaLnBrk="0" hangingPunct="0">
                <a:defRPr/>
              </a:pP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8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19963" y="6574368"/>
            <a:ext cx="1670050" cy="19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doc id"/>
          <p:cNvSpPr txBox="1">
            <a:spLocks noChangeArrowheads="1"/>
          </p:cNvSpPr>
          <p:nvPr/>
        </p:nvSpPr>
        <p:spPr bwMode="auto">
          <a:xfrm>
            <a:off x="8613778" y="38102"/>
            <a:ext cx="301625" cy="12488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13" name="Straight Arrow Connector 2"/>
          <p:cNvCxnSpPr/>
          <p:nvPr userDrawn="1"/>
        </p:nvCxnSpPr>
        <p:spPr>
          <a:xfrm>
            <a:off x="3789363" y="0"/>
            <a:ext cx="0" cy="6860117"/>
          </a:xfrm>
          <a:prstGeom prst="straightConnector1">
            <a:avLst/>
          </a:prstGeom>
          <a:ln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8" descr="TCH_Stacked.eps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800" y="3865283"/>
            <a:ext cx="2417762" cy="2114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54136" y="3856118"/>
            <a:ext cx="3996205" cy="307777"/>
          </a:xfrm>
        </p:spPr>
        <p:txBody>
          <a:bodyPr>
            <a:sp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54135" y="2556117"/>
            <a:ext cx="3996205" cy="1107996"/>
          </a:xfrm>
        </p:spPr>
        <p:txBody>
          <a:bodyPr anchor="b"/>
          <a:lstStyle>
            <a:lvl1pPr>
              <a:defRPr sz="3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 flipV="1">
            <a:off x="4354513" y="3759056"/>
            <a:ext cx="4437062" cy="2117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052" y="899179"/>
            <a:ext cx="1581258" cy="2108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3638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5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 fontAlgn="auto">
                <a:spcBef>
                  <a:spcPts val="0"/>
                </a:spcBef>
                <a:spcAft>
                  <a:spcPts val="0"/>
                </a:spcAft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8" name="Straight Connector 18"/>
          <p:cNvCxnSpPr/>
          <p:nvPr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34951"/>
            <a:ext cx="8613775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04799" y="1193800"/>
            <a:ext cx="8613776" cy="46736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</a:defRPr>
            </a:lvl1pPr>
            <a:lvl2pPr>
              <a:buClr>
                <a:srgbClr val="002060"/>
              </a:buCl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buClr>
                <a:srgbClr val="88384B"/>
              </a:buClr>
              <a:defRPr sz="1800">
                <a:solidFill>
                  <a:schemeClr val="tx1"/>
                </a:solidFill>
              </a:defRPr>
            </a:lvl4pPr>
            <a:lvl5pPr marL="914400" indent="-2286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8" descr="TCH_Stacked.eps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8673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" name="McK Slide Elements"/>
          <p:cNvGrpSpPr>
            <a:grpSpLocks/>
          </p:cNvGrpSpPr>
          <p:nvPr userDrawn="1"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1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15" name="Straight Connector 18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8" descr="TCH_Stacked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8673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6402195"/>
            <a:ext cx="328697" cy="43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6463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McK Slide Elements"/>
          <p:cNvGrpSpPr>
            <a:grpSpLocks/>
          </p:cNvGrpSpPr>
          <p:nvPr userDrawn="1"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4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5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6" name="Straight Connector 9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34951"/>
            <a:ext cx="8793162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18" descr="TCH_Stacked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5498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6402195"/>
            <a:ext cx="328697" cy="43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4092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 userDrawn="1"/>
        </p:nvGrpSpPr>
        <p:grpSpPr bwMode="auto">
          <a:xfrm>
            <a:off x="122241" y="6205011"/>
            <a:ext cx="8721725" cy="516991"/>
            <a:chOff x="75" y="3831"/>
            <a:chExt cx="5385" cy="319"/>
          </a:xfrm>
        </p:grpSpPr>
        <p:sp>
          <p:nvSpPr>
            <p:cNvPr id="3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5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cxnSp>
        <p:nvCxnSpPr>
          <p:cNvPr id="5" name="Straight Connector 8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8" descr="TCH_Stacked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15498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6402195"/>
            <a:ext cx="328697" cy="43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2062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35315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 marL="0" indent="0">
              <a:buNone/>
              <a:defRPr sz="2800"/>
            </a:lvl1pPr>
            <a:lvl2pPr>
              <a:buClr>
                <a:srgbClr val="002060"/>
              </a:buClr>
              <a:defRPr sz="2400"/>
            </a:lvl2pPr>
            <a:lvl3pPr>
              <a:defRPr sz="2000"/>
            </a:lvl3pPr>
            <a:lvl4pPr>
              <a:buClr>
                <a:srgbClr val="C00000"/>
              </a:buCl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18"/>
          <p:cNvCxnSpPr/>
          <p:nvPr userDrawn="1"/>
        </p:nvCxnSpPr>
        <p:spPr>
          <a:xfrm>
            <a:off x="0" y="6358467"/>
            <a:ext cx="9144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6402195"/>
            <a:ext cx="328697" cy="438263"/>
          </a:xfrm>
          <a:prstGeom prst="rect">
            <a:avLst/>
          </a:prstGeom>
        </p:spPr>
      </p:pic>
      <p:pic>
        <p:nvPicPr>
          <p:cNvPr id="10" name="Picture 18" descr="TCH_Stacked.eps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15498" y="6403250"/>
            <a:ext cx="499902" cy="43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860647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445DD7B8-CC10-4BE4-9A41-847E9F63D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en-US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760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800600" y="23622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endParaRPr lang="en-US" dirty="0">
              <a:solidFill>
                <a:srgbClr val="1F497D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C2A1ACFB-1FA6-41C3-9E82-F0DD623715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en-US" dirty="0">
              <a:solidFill>
                <a:srgbClr val="1F497D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pic>
        <p:nvPicPr>
          <p:cNvPr id="17" name="Picture 16" descr="tchlogo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24968" y="6111679"/>
            <a:ext cx="816864" cy="6381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836" y="6076030"/>
            <a:ext cx="705928" cy="70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3541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E5CB17CB-BF47-4F85-B8B8-0B9561AB0DB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9680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5692830-2F91-4C1E-92D5-DFE8F9E298BC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2519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en-US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754ED01-E2A0-4C1E-8E21-014B9904157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43081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-9144" y="4572000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9144" y="4663440"/>
            <a:ext cx="146304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545336" y="4654296"/>
            <a:ext cx="75986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1" name="Rectangle 10"/>
          <p:cNvSpPr/>
          <p:nvPr/>
        </p:nvSpPr>
        <p:spPr bwMode="white">
          <a:xfrm>
            <a:off x="1447800" y="0"/>
            <a:ext cx="100584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4478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B5CDD179-8948-4256-932C-5678B4B6A29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6248206"/>
            <a:ext cx="4572000" cy="365125"/>
          </a:xfrm>
        </p:spPr>
        <p:txBody>
          <a:bodyPr rtlCol="0"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/>
              <a:t>Drag picture to placeholder or click icon to add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1200455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29C552-ACDE-4C21-A080-E7FC401482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1227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dirty="0"/>
              <a:t>Click to edit Master text styles</a:t>
            </a:r>
          </a:p>
          <a:p>
            <a:pPr lvl="1" eaLnBrk="1" latinLnBrk="0" hangingPunct="1"/>
            <a:r>
              <a:rPr kumimoji="0" lang="en-US" dirty="0"/>
              <a:t>Second level</a:t>
            </a:r>
          </a:p>
          <a:p>
            <a:pPr lvl="2" eaLnBrk="1" latinLnBrk="0" hangingPunct="1"/>
            <a:r>
              <a:rPr kumimoji="0" lang="en-US" dirty="0"/>
              <a:t>Third level</a:t>
            </a:r>
          </a:p>
          <a:p>
            <a:pPr lvl="3" eaLnBrk="1" latinLnBrk="0" hangingPunct="1"/>
            <a:r>
              <a:rPr kumimoji="0" lang="en-US" dirty="0"/>
              <a:t>Fourth level</a:t>
            </a:r>
          </a:p>
          <a:p>
            <a:pPr lvl="4" eaLnBrk="1" latinLnBrk="0" hangingPunct="1"/>
            <a:r>
              <a:rPr kumimoji="0" lang="en-US" dirty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0" y="6248206"/>
            <a:ext cx="5421083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1F497D"/>
              </a:solidFill>
            </a:endParaRPr>
          </a:p>
        </p:txBody>
      </p:sp>
      <p:sp>
        <p:nvSpPr>
          <p:cNvPr id="7" name="Rectangle 6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1280160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90550" y="1280160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EEBF0A75-56EB-410D-9282-24E40AD000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52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1" r:id="rId1"/>
    <p:sldLayoutId id="2147484112" r:id="rId2"/>
    <p:sldLayoutId id="2147484113" r:id="rId3"/>
    <p:sldLayoutId id="2147484114" r:id="rId4"/>
    <p:sldLayoutId id="2147484115" r:id="rId5"/>
    <p:sldLayoutId id="2147484116" r:id="rId6"/>
    <p:sldLayoutId id="2147484117" r:id="rId7"/>
    <p:sldLayoutId id="2147484118" r:id="rId8"/>
    <p:sldLayoutId id="2147484119" r:id="rId9"/>
    <p:sldLayoutId id="2147484120" r:id="rId10"/>
  </p:sldLayoutIdLst>
  <p:txStyles>
    <p:titleStyle>
      <a:lvl1pPr algn="l" rtl="0" eaLnBrk="1" latinLnBrk="0" hangingPunct="1"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60000"/>
        <a:buFont typeface="Wingdings" charset="2"/>
        <a:buChar char="u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0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 charset="2"/>
        <a:buChar char="u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34951"/>
            <a:ext cx="87931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122239" y="27517"/>
            <a:ext cx="85921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1" y="541867"/>
            <a:ext cx="3729037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" name="ACET" hidden="1"/>
          <p:cNvGrpSpPr>
            <a:grpSpLocks/>
          </p:cNvGrpSpPr>
          <p:nvPr/>
        </p:nvGrpSpPr>
        <p:grpSpPr bwMode="auto">
          <a:xfrm>
            <a:off x="1482725" y="1094836"/>
            <a:ext cx="4349750" cy="573099"/>
            <a:chOff x="915" y="676"/>
            <a:chExt cx="2686" cy="354"/>
          </a:xfrm>
        </p:grpSpPr>
        <p:cxnSp>
          <p:nvCxnSpPr>
            <p:cNvPr id="1031" name="AutoShape 249" hidden="1"/>
            <p:cNvCxnSpPr>
              <a:cxnSpLocks noChangeShapeType="1"/>
              <a:stCxn id="1040" idx="4"/>
              <a:endCxn id="104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40" name="AutoShape 250" hidden="1"/>
            <p:cNvSpPr>
              <a:spLocks noChangeArrowheads="1"/>
            </p:cNvSpPr>
            <p:nvPr/>
          </p:nvSpPr>
          <p:spPr bwMode="auto">
            <a:xfrm>
              <a:off x="915" y="676"/>
              <a:ext cx="2686" cy="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8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03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725" y="1989668"/>
            <a:ext cx="4389438" cy="1591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6796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</p:sldLayoutIdLst>
  <p:hf sldNum="0"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7013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125000"/>
        <a:buFont typeface="Arial" charset="0"/>
        <a:buChar char="▪"/>
        <a:defRPr sz="2000">
          <a:solidFill>
            <a:schemeClr val="tx1"/>
          </a:solidFill>
          <a:latin typeface="+mn-lt"/>
        </a:defRPr>
      </a:lvl2pPr>
      <a:lvl3pPr marL="457200" indent="-228600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100000"/>
        <a:buFont typeface="Arial" charset="0"/>
        <a:buChar char="–"/>
        <a:defRPr sz="2000">
          <a:solidFill>
            <a:schemeClr val="tx1"/>
          </a:solidFill>
          <a:latin typeface="+mn-lt"/>
        </a:defRPr>
      </a:lvl3pPr>
      <a:lvl4pPr marL="685800" indent="-227013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120000"/>
        <a:buFont typeface="Arial" charset="0"/>
        <a:buChar char="▫"/>
        <a:defRPr sz="2000">
          <a:solidFill>
            <a:schemeClr val="tx1"/>
          </a:solidFill>
          <a:latin typeface="+mn-lt"/>
        </a:defRPr>
      </a:lvl4pPr>
      <a:lvl5pPr marL="914400" indent="-228600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89000"/>
        <a:buFont typeface="Arial" charset="0"/>
        <a:buChar char="-"/>
        <a:defRPr sz="2000">
          <a:solidFill>
            <a:schemeClr val="tx1"/>
          </a:solidFill>
          <a:latin typeface="+mn-lt"/>
        </a:defRPr>
      </a:lvl5pPr>
      <a:lvl6pPr marL="12033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34951"/>
            <a:ext cx="86106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122239" y="27517"/>
            <a:ext cx="85921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1" y="541867"/>
            <a:ext cx="3729037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" name="ACET" hidden="1"/>
          <p:cNvGrpSpPr>
            <a:grpSpLocks/>
          </p:cNvGrpSpPr>
          <p:nvPr/>
        </p:nvGrpSpPr>
        <p:grpSpPr bwMode="auto">
          <a:xfrm>
            <a:off x="1482725" y="1156354"/>
            <a:ext cx="4349750" cy="511580"/>
            <a:chOff x="915" y="714"/>
            <a:chExt cx="2686" cy="316"/>
          </a:xfrm>
        </p:grpSpPr>
        <p:cxnSp>
          <p:nvCxnSpPr>
            <p:cNvPr id="1031" name="AutoShape 249" hidden="1"/>
            <p:cNvCxnSpPr>
              <a:cxnSpLocks noChangeShapeType="1"/>
              <a:stCxn id="1040" idx="4"/>
              <a:endCxn id="104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40" name="AutoShape 250" hidden="1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>
                <a:defRPr/>
              </a:pPr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03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4440" y="1295400"/>
            <a:ext cx="8590961" cy="477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031213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7013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125000"/>
        <a:buFont typeface="Arial" charset="0"/>
        <a:buChar char="▪"/>
        <a:defRPr sz="2800">
          <a:solidFill>
            <a:schemeClr val="tx1"/>
          </a:solidFill>
          <a:latin typeface="+mn-lt"/>
        </a:defRPr>
      </a:lvl2pPr>
      <a:lvl3pPr marL="457200" indent="-228600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100000"/>
        <a:buFont typeface="Arial" charset="0"/>
        <a:buChar char="–"/>
        <a:defRPr sz="2400">
          <a:solidFill>
            <a:schemeClr val="tx1"/>
          </a:solidFill>
          <a:latin typeface="+mn-lt"/>
        </a:defRPr>
      </a:lvl3pPr>
      <a:lvl4pPr marL="685800" indent="-227013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120000"/>
        <a:buFont typeface="Arial" charset="0"/>
        <a:buChar char="▫"/>
        <a:defRPr sz="2000">
          <a:solidFill>
            <a:schemeClr val="tx1"/>
          </a:solidFill>
          <a:latin typeface="+mn-lt"/>
        </a:defRPr>
      </a:lvl4pPr>
      <a:lvl5pPr marL="914400" indent="-228600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5pPr>
      <a:lvl6pPr marL="12033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34951"/>
            <a:ext cx="86106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122239" y="27517"/>
            <a:ext cx="859210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2241" y="541867"/>
            <a:ext cx="3729037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" name="ACET" hidden="1"/>
          <p:cNvGrpSpPr>
            <a:grpSpLocks/>
          </p:cNvGrpSpPr>
          <p:nvPr/>
        </p:nvGrpSpPr>
        <p:grpSpPr bwMode="auto">
          <a:xfrm>
            <a:off x="1482725" y="1156354"/>
            <a:ext cx="4349750" cy="511580"/>
            <a:chOff x="915" y="714"/>
            <a:chExt cx="2686" cy="316"/>
          </a:xfrm>
        </p:grpSpPr>
        <p:cxnSp>
          <p:nvCxnSpPr>
            <p:cNvPr id="1031" name="AutoShape 249" hidden="1"/>
            <p:cNvCxnSpPr>
              <a:cxnSpLocks noChangeShapeType="1"/>
              <a:stCxn id="1040" idx="4"/>
              <a:endCxn id="104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40" name="AutoShape 250" hidden="1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>
                <a:defRPr/>
              </a:pPr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03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4440" y="1295400"/>
            <a:ext cx="8590961" cy="477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92905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3" r:id="rId6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7013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125000"/>
        <a:buFont typeface="Arial" charset="0"/>
        <a:buChar char="▪"/>
        <a:defRPr sz="2800">
          <a:solidFill>
            <a:schemeClr val="tx1"/>
          </a:solidFill>
          <a:latin typeface="+mn-lt"/>
        </a:defRPr>
      </a:lvl2pPr>
      <a:lvl3pPr marL="457200" indent="-228600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100000"/>
        <a:buFont typeface="Arial" charset="0"/>
        <a:buChar char="–"/>
        <a:defRPr sz="2400">
          <a:solidFill>
            <a:schemeClr val="tx1"/>
          </a:solidFill>
          <a:latin typeface="+mn-lt"/>
        </a:defRPr>
      </a:lvl3pPr>
      <a:lvl4pPr marL="685800" indent="-227013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120000"/>
        <a:buFont typeface="Arial" charset="0"/>
        <a:buChar char="▫"/>
        <a:defRPr sz="2000">
          <a:solidFill>
            <a:schemeClr val="tx1"/>
          </a:solidFill>
          <a:latin typeface="+mn-lt"/>
        </a:defRPr>
      </a:lvl4pPr>
      <a:lvl5pPr marL="914400" indent="-228600" algn="l" defTabSz="895350" rtl="0" eaLnBrk="1" fontAlgn="base" hangingPunct="1">
        <a:spcBef>
          <a:spcPct val="0"/>
        </a:spcBef>
        <a:spcAft>
          <a:spcPct val="0"/>
        </a:spcAft>
        <a:buClr>
          <a:srgbClr val="C00000"/>
        </a:buClr>
        <a:buSzPct val="89000"/>
        <a:buFont typeface="Arial" charset="0"/>
        <a:buChar char="-"/>
        <a:defRPr sz="1800">
          <a:solidFill>
            <a:schemeClr val="tx1"/>
          </a:solidFill>
          <a:latin typeface="+mn-lt"/>
        </a:defRPr>
      </a:lvl5pPr>
      <a:lvl6pPr marL="12033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3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1.xml"/><Relationship Id="rId3" Type="http://schemas.openxmlformats.org/officeDocument/2006/relationships/notesSlide" Target="../notesSlides/notesSlide8.xml"/><Relationship Id="rId7" Type="http://schemas.openxmlformats.org/officeDocument/2006/relationships/diagramColors" Target="../diagrams/colors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diagramQuickStyle" Target="../diagrams/quickStyle11.xml"/><Relationship Id="rId5" Type="http://schemas.openxmlformats.org/officeDocument/2006/relationships/diagramLayout" Target="../diagrams/layout11.xml"/><Relationship Id="rId4" Type="http://schemas.openxmlformats.org/officeDocument/2006/relationships/diagramData" Target="../diagrams/data11.xml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3" Type="http://schemas.openxmlformats.org/officeDocument/2006/relationships/notesSlide" Target="../notesSlides/notesSlide9.xml"/><Relationship Id="rId7" Type="http://schemas.openxmlformats.org/officeDocument/2006/relationships/diagramColors" Target="../diagrams/colors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diagramQuickStyle" Target="../diagrams/quickStyle12.xml"/><Relationship Id="rId5" Type="http://schemas.openxmlformats.org/officeDocument/2006/relationships/diagramLayout" Target="../diagrams/layout12.xml"/><Relationship Id="rId4" Type="http://schemas.openxmlformats.org/officeDocument/2006/relationships/diagramData" Target="../diagrams/data12.xml"/><Relationship Id="rId9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image" Target="../media/image33.jpeg"/><Relationship Id="rId7" Type="http://schemas.openxmlformats.org/officeDocument/2006/relationships/diagramColors" Target="../diagrams/colors1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diagramQuickStyle" Target="../diagrams/quickStyle13.xml"/><Relationship Id="rId11" Type="http://schemas.openxmlformats.org/officeDocument/2006/relationships/image" Target="../media/image36.png"/><Relationship Id="rId5" Type="http://schemas.openxmlformats.org/officeDocument/2006/relationships/diagramLayout" Target="../diagrams/layout13.xml"/><Relationship Id="rId10" Type="http://schemas.openxmlformats.org/officeDocument/2006/relationships/image" Target="../media/image35.png"/><Relationship Id="rId4" Type="http://schemas.openxmlformats.org/officeDocument/2006/relationships/diagramData" Target="../diagrams/data13.xml"/><Relationship Id="rId9" Type="http://schemas.openxmlformats.org/officeDocument/2006/relationships/image" Target="../media/image34.emf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notesSlide" Target="../notesSlides/notesSlide10.xml"/><Relationship Id="rId7" Type="http://schemas.openxmlformats.org/officeDocument/2006/relationships/diagramColors" Target="../diagrams/colors1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Relationship Id="rId9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diagramData" Target="../diagrams/data15.xml"/><Relationship Id="rId7" Type="http://schemas.microsoft.com/office/2007/relationships/diagramDrawing" Target="../diagrams/drawing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diagramColors" Target="../diagrams/colors15.xml"/><Relationship Id="rId5" Type="http://schemas.openxmlformats.org/officeDocument/2006/relationships/diagramQuickStyle" Target="../diagrams/quickStyle15.xml"/><Relationship Id="rId4" Type="http://schemas.openxmlformats.org/officeDocument/2006/relationships/diagramLayout" Target="../diagrams/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6.xml"/><Relationship Id="rId7" Type="http://schemas.microsoft.com/office/2007/relationships/diagramDrawing" Target="../diagrams/drawing1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diagramColors" Target="../diagrams/colors16.xml"/><Relationship Id="rId5" Type="http://schemas.openxmlformats.org/officeDocument/2006/relationships/diagramQuickStyle" Target="../diagrams/quickStyle16.xml"/><Relationship Id="rId4" Type="http://schemas.openxmlformats.org/officeDocument/2006/relationships/diagramLayout" Target="../diagrams/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diagramColors" Target="../diagrams/colors17.xml"/><Relationship Id="rId5" Type="http://schemas.openxmlformats.org/officeDocument/2006/relationships/diagramQuickStyle" Target="../diagrams/quickStyle17.xml"/><Relationship Id="rId4" Type="http://schemas.openxmlformats.org/officeDocument/2006/relationships/diagramLayout" Target="../diagrams/layout17.xml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8.xml"/><Relationship Id="rId3" Type="http://schemas.openxmlformats.org/officeDocument/2006/relationships/notesSlide" Target="../notesSlides/notesSlide11.xml"/><Relationship Id="rId7" Type="http://schemas.openxmlformats.org/officeDocument/2006/relationships/diagramColors" Target="../diagrams/colors1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diagramQuickStyle" Target="../diagrams/quickStyle18.xml"/><Relationship Id="rId5" Type="http://schemas.openxmlformats.org/officeDocument/2006/relationships/diagramLayout" Target="../diagrams/layout18.xml"/><Relationship Id="rId4" Type="http://schemas.openxmlformats.org/officeDocument/2006/relationships/diagramData" Target="../diagrams/data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diagramColors" Target="../diagrams/colors19.xml"/><Relationship Id="rId5" Type="http://schemas.openxmlformats.org/officeDocument/2006/relationships/diagramQuickStyle" Target="../diagrams/quickStyle19.xml"/><Relationship Id="rId4" Type="http://schemas.openxmlformats.org/officeDocument/2006/relationships/diagramLayout" Target="../diagrams/layout19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0.xml"/><Relationship Id="rId3" Type="http://schemas.openxmlformats.org/officeDocument/2006/relationships/notesSlide" Target="../notesSlides/notesSlide12.xml"/><Relationship Id="rId7" Type="http://schemas.openxmlformats.org/officeDocument/2006/relationships/diagramColors" Target="../diagrams/colors20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diagramQuickStyle" Target="../diagrams/quickStyle20.xml"/><Relationship Id="rId5" Type="http://schemas.openxmlformats.org/officeDocument/2006/relationships/diagramLayout" Target="../diagrams/layout20.xml"/><Relationship Id="rId4" Type="http://schemas.openxmlformats.org/officeDocument/2006/relationships/diagramData" Target="../diagrams/data20.xml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1.xml"/><Relationship Id="rId3" Type="http://schemas.openxmlformats.org/officeDocument/2006/relationships/notesSlide" Target="../notesSlides/notesSlide13.xml"/><Relationship Id="rId7" Type="http://schemas.openxmlformats.org/officeDocument/2006/relationships/diagramColors" Target="../diagrams/colors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diagramQuickStyle" Target="../diagrams/quickStyle21.xml"/><Relationship Id="rId5" Type="http://schemas.openxmlformats.org/officeDocument/2006/relationships/diagramLayout" Target="../diagrams/layout21.xml"/><Relationship Id="rId4" Type="http://schemas.openxmlformats.org/officeDocument/2006/relationships/diagramData" Target="../diagrams/data2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2.xml"/><Relationship Id="rId7" Type="http://schemas.microsoft.com/office/2007/relationships/diagramDrawing" Target="../diagrams/drawing2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2.xml"/><Relationship Id="rId5" Type="http://schemas.openxmlformats.org/officeDocument/2006/relationships/diagramQuickStyle" Target="../diagrams/quickStyle22.xml"/><Relationship Id="rId4" Type="http://schemas.openxmlformats.org/officeDocument/2006/relationships/diagramLayout" Target="../diagrams/layout2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3.xml"/><Relationship Id="rId7" Type="http://schemas.microsoft.com/office/2007/relationships/diagramDrawing" Target="../diagrams/drawing2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diagramColors" Target="../diagrams/colors23.xml"/><Relationship Id="rId5" Type="http://schemas.openxmlformats.org/officeDocument/2006/relationships/diagramQuickStyle" Target="../diagrams/quickStyle23.xml"/><Relationship Id="rId4" Type="http://schemas.openxmlformats.org/officeDocument/2006/relationships/diagramLayout" Target="../diagrams/layout2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4.xml"/><Relationship Id="rId7" Type="http://schemas.openxmlformats.org/officeDocument/2006/relationships/image" Target="../media/image39.png"/><Relationship Id="rId2" Type="http://schemas.openxmlformats.org/officeDocument/2006/relationships/diagramData" Target="../diagrams/data24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4.xml"/><Relationship Id="rId5" Type="http://schemas.openxmlformats.org/officeDocument/2006/relationships/diagramColors" Target="../diagrams/colors24.xml"/><Relationship Id="rId4" Type="http://schemas.openxmlformats.org/officeDocument/2006/relationships/diagramQuickStyle" Target="../diagrams/quickStyle2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5.xml"/><Relationship Id="rId3" Type="http://schemas.openxmlformats.org/officeDocument/2006/relationships/notesSlide" Target="../notesSlides/notesSlide16.xml"/><Relationship Id="rId7" Type="http://schemas.openxmlformats.org/officeDocument/2006/relationships/diagramColors" Target="../diagrams/colors2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Relationship Id="rId6" Type="http://schemas.openxmlformats.org/officeDocument/2006/relationships/diagramQuickStyle" Target="../diagrams/quickStyle25.xml"/><Relationship Id="rId5" Type="http://schemas.openxmlformats.org/officeDocument/2006/relationships/diagramLayout" Target="../diagrams/layout25.xml"/><Relationship Id="rId4" Type="http://schemas.openxmlformats.org/officeDocument/2006/relationships/diagramData" Target="../diagrams/data25.xml"/><Relationship Id="rId9" Type="http://schemas.openxmlformats.org/officeDocument/2006/relationships/image" Target="../media/image45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6" Type="http://schemas.openxmlformats.org/officeDocument/2006/relationships/image" Target="../media/image48.jpeg"/><Relationship Id="rId11" Type="http://schemas.openxmlformats.org/officeDocument/2006/relationships/image" Target="../media/image53.png"/><Relationship Id="rId5" Type="http://schemas.openxmlformats.org/officeDocument/2006/relationships/image" Target="../media/image47.jpeg"/><Relationship Id="rId10" Type="http://schemas.openxmlformats.org/officeDocument/2006/relationships/image" Target="../media/image52.png"/><Relationship Id="rId4" Type="http://schemas.openxmlformats.org/officeDocument/2006/relationships/image" Target="../media/image46.jpeg"/><Relationship Id="rId9" Type="http://schemas.openxmlformats.org/officeDocument/2006/relationships/image" Target="../media/image51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openxmlformats.org/officeDocument/2006/relationships/image" Target="../media/image5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51.jpe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1.jpeg"/><Relationship Id="rId5" Type="http://schemas.openxmlformats.org/officeDocument/2006/relationships/image" Target="../media/image60.png"/><Relationship Id="rId4" Type="http://schemas.openxmlformats.org/officeDocument/2006/relationships/image" Target="../media/image59.jpeg"/><Relationship Id="rId9" Type="http://schemas.openxmlformats.org/officeDocument/2006/relationships/image" Target="../media/image34.emf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57.png"/><Relationship Id="rId3" Type="http://schemas.openxmlformats.org/officeDocument/2006/relationships/image" Target="../media/image63.jpeg"/><Relationship Id="rId7" Type="http://schemas.openxmlformats.org/officeDocument/2006/relationships/image" Target="../media/image66.png"/><Relationship Id="rId12" Type="http://schemas.openxmlformats.org/officeDocument/2006/relationships/image" Target="../media/image46.jpe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7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5.png"/><Relationship Id="rId11" Type="http://schemas.openxmlformats.org/officeDocument/2006/relationships/image" Target="../media/image59.jpeg"/><Relationship Id="rId5" Type="http://schemas.openxmlformats.org/officeDocument/2006/relationships/image" Target="../media/image64.jpeg"/><Relationship Id="rId15" Type="http://schemas.openxmlformats.org/officeDocument/2006/relationships/image" Target="../media/image71.png"/><Relationship Id="rId10" Type="http://schemas.openxmlformats.org/officeDocument/2006/relationships/image" Target="../media/image69.jpeg"/><Relationship Id="rId4" Type="http://schemas.openxmlformats.org/officeDocument/2006/relationships/image" Target="../media/image32.png"/><Relationship Id="rId9" Type="http://schemas.openxmlformats.org/officeDocument/2006/relationships/image" Target="../media/image68.jpeg"/><Relationship Id="rId14" Type="http://schemas.openxmlformats.org/officeDocument/2006/relationships/image" Target="../media/image70.emf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10" Type="http://schemas.openxmlformats.org/officeDocument/2006/relationships/image" Target="../media/image80.jpe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70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3.png"/><Relationship Id="rId5" Type="http://schemas.openxmlformats.org/officeDocument/2006/relationships/image" Target="../media/image65.png"/><Relationship Id="rId4" Type="http://schemas.openxmlformats.org/officeDocument/2006/relationships/image" Target="../media/image82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6.xml"/><Relationship Id="rId13" Type="http://schemas.openxmlformats.org/officeDocument/2006/relationships/image" Target="../media/image87.jpeg"/><Relationship Id="rId3" Type="http://schemas.openxmlformats.org/officeDocument/2006/relationships/image" Target="../media/image54.jpeg"/><Relationship Id="rId7" Type="http://schemas.openxmlformats.org/officeDocument/2006/relationships/diagramQuickStyle" Target="../diagrams/quickStyle26.xml"/><Relationship Id="rId12" Type="http://schemas.openxmlformats.org/officeDocument/2006/relationships/image" Target="../media/image86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26.xml"/><Relationship Id="rId11" Type="http://schemas.openxmlformats.org/officeDocument/2006/relationships/image" Target="../media/image85.png"/><Relationship Id="rId5" Type="http://schemas.openxmlformats.org/officeDocument/2006/relationships/diagramData" Target="../diagrams/data26.xml"/><Relationship Id="rId10" Type="http://schemas.openxmlformats.org/officeDocument/2006/relationships/image" Target="../media/image57.png"/><Relationship Id="rId4" Type="http://schemas.openxmlformats.org/officeDocument/2006/relationships/image" Target="../media/image84.png"/><Relationship Id="rId9" Type="http://schemas.microsoft.com/office/2007/relationships/diagramDrawing" Target="../diagrams/drawing26.xml"/><Relationship Id="rId14" Type="http://schemas.openxmlformats.org/officeDocument/2006/relationships/image" Target="../media/image8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21.jpeg"/><Relationship Id="rId4" Type="http://schemas.openxmlformats.org/officeDocument/2006/relationships/diagramLayout" Target="../diagrams/layout2.xml"/><Relationship Id="rId9" Type="http://schemas.openxmlformats.org/officeDocument/2006/relationships/image" Target="../media/image20.jpeg"/></Relationships>
</file>

<file path=ppt/slides/_rels/slide4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7.xml"/><Relationship Id="rId3" Type="http://schemas.openxmlformats.org/officeDocument/2006/relationships/image" Target="../media/image89.jpeg"/><Relationship Id="rId7" Type="http://schemas.openxmlformats.org/officeDocument/2006/relationships/diagramColors" Target="../diagrams/colors27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27.xml"/><Relationship Id="rId11" Type="http://schemas.openxmlformats.org/officeDocument/2006/relationships/image" Target="../media/image91.png"/><Relationship Id="rId5" Type="http://schemas.openxmlformats.org/officeDocument/2006/relationships/diagramLayout" Target="../diagrams/layout27.xml"/><Relationship Id="rId10" Type="http://schemas.openxmlformats.org/officeDocument/2006/relationships/image" Target="../media/image90.png"/><Relationship Id="rId4" Type="http://schemas.openxmlformats.org/officeDocument/2006/relationships/diagramData" Target="../diagrams/data27.xml"/><Relationship Id="rId9" Type="http://schemas.openxmlformats.org/officeDocument/2006/relationships/image" Target="../media/image72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9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94.png"/><Relationship Id="rId5" Type="http://schemas.openxmlformats.org/officeDocument/2006/relationships/image" Target="../media/image93.jpeg"/><Relationship Id="rId4" Type="http://schemas.openxmlformats.org/officeDocument/2006/relationships/image" Target="../media/image92.jpeg"/><Relationship Id="rId9" Type="http://schemas.openxmlformats.org/officeDocument/2006/relationships/image" Target="../media/image97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9.png"/><Relationship Id="rId18" Type="http://schemas.openxmlformats.org/officeDocument/2006/relationships/image" Target="../media/image114.png"/><Relationship Id="rId3" Type="http://schemas.openxmlformats.org/officeDocument/2006/relationships/image" Target="../media/image99.jpeg"/><Relationship Id="rId21" Type="http://schemas.openxmlformats.org/officeDocument/2006/relationships/image" Target="../media/image117.png"/><Relationship Id="rId7" Type="http://schemas.openxmlformats.org/officeDocument/2006/relationships/image" Target="../media/image103.png"/><Relationship Id="rId12" Type="http://schemas.openxmlformats.org/officeDocument/2006/relationships/image" Target="../media/image108.png"/><Relationship Id="rId17" Type="http://schemas.openxmlformats.org/officeDocument/2006/relationships/image" Target="../media/image113.png"/><Relationship Id="rId2" Type="http://schemas.openxmlformats.org/officeDocument/2006/relationships/image" Target="../media/image98.png"/><Relationship Id="rId16" Type="http://schemas.openxmlformats.org/officeDocument/2006/relationships/image" Target="../media/image112.png"/><Relationship Id="rId20" Type="http://schemas.openxmlformats.org/officeDocument/2006/relationships/image" Target="../media/image11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2.png"/><Relationship Id="rId11" Type="http://schemas.openxmlformats.org/officeDocument/2006/relationships/image" Target="../media/image107.png"/><Relationship Id="rId5" Type="http://schemas.openxmlformats.org/officeDocument/2006/relationships/image" Target="../media/image101.png"/><Relationship Id="rId15" Type="http://schemas.openxmlformats.org/officeDocument/2006/relationships/image" Target="../media/image111.png"/><Relationship Id="rId23" Type="http://schemas.openxmlformats.org/officeDocument/2006/relationships/image" Target="../media/image119.png"/><Relationship Id="rId10" Type="http://schemas.openxmlformats.org/officeDocument/2006/relationships/image" Target="../media/image106.png"/><Relationship Id="rId19" Type="http://schemas.openxmlformats.org/officeDocument/2006/relationships/image" Target="../media/image115.png"/><Relationship Id="rId4" Type="http://schemas.openxmlformats.org/officeDocument/2006/relationships/image" Target="../media/image100.jpg"/><Relationship Id="rId9" Type="http://schemas.openxmlformats.org/officeDocument/2006/relationships/image" Target="../media/image105.png"/><Relationship Id="rId14" Type="http://schemas.openxmlformats.org/officeDocument/2006/relationships/image" Target="../media/image110.png"/><Relationship Id="rId22" Type="http://schemas.openxmlformats.org/officeDocument/2006/relationships/image" Target="../media/image118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jpeg"/><Relationship Id="rId3" Type="http://schemas.openxmlformats.org/officeDocument/2006/relationships/image" Target="../media/image120.jpeg"/><Relationship Id="rId7" Type="http://schemas.openxmlformats.org/officeDocument/2006/relationships/image" Target="../media/image123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6.jpeg"/><Relationship Id="rId11" Type="http://schemas.openxmlformats.org/officeDocument/2006/relationships/image" Target="../media/image126.png"/><Relationship Id="rId5" Type="http://schemas.openxmlformats.org/officeDocument/2006/relationships/image" Target="../media/image122.jpeg"/><Relationship Id="rId10" Type="http://schemas.openxmlformats.org/officeDocument/2006/relationships/image" Target="../media/image125.jpg"/><Relationship Id="rId4" Type="http://schemas.openxmlformats.org/officeDocument/2006/relationships/image" Target="../media/image121.jpeg"/><Relationship Id="rId9" Type="http://schemas.openxmlformats.org/officeDocument/2006/relationships/image" Target="../media/image8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8.xml"/><Relationship Id="rId7" Type="http://schemas.microsoft.com/office/2007/relationships/diagramDrawing" Target="../diagrams/drawing2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6" Type="http://schemas.openxmlformats.org/officeDocument/2006/relationships/diagramColors" Target="../diagrams/colors28.xml"/><Relationship Id="rId5" Type="http://schemas.openxmlformats.org/officeDocument/2006/relationships/diagramQuickStyle" Target="../diagrams/quickStyle28.xml"/><Relationship Id="rId4" Type="http://schemas.openxmlformats.org/officeDocument/2006/relationships/diagramLayout" Target="../diagrams/layout28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jpg"/><Relationship Id="rId3" Type="http://schemas.openxmlformats.org/officeDocument/2006/relationships/image" Target="../media/image128.png"/><Relationship Id="rId7" Type="http://schemas.openxmlformats.org/officeDocument/2006/relationships/image" Target="../media/image131.jpg"/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0.png"/><Relationship Id="rId11" Type="http://schemas.openxmlformats.org/officeDocument/2006/relationships/image" Target="../media/image135.png"/><Relationship Id="rId5" Type="http://schemas.openxmlformats.org/officeDocument/2006/relationships/image" Target="../media/image5.jpg"/><Relationship Id="rId10" Type="http://schemas.openxmlformats.org/officeDocument/2006/relationships/image" Target="../media/image134.jpg"/><Relationship Id="rId4" Type="http://schemas.openxmlformats.org/officeDocument/2006/relationships/image" Target="../media/image129.jpg"/><Relationship Id="rId9" Type="http://schemas.openxmlformats.org/officeDocument/2006/relationships/image" Target="../media/image133.jp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emf"/><Relationship Id="rId2" Type="http://schemas.openxmlformats.org/officeDocument/2006/relationships/image" Target="../media/image136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0.jpeg"/><Relationship Id="rId5" Type="http://schemas.openxmlformats.org/officeDocument/2006/relationships/image" Target="../media/image139.jpeg"/><Relationship Id="rId4" Type="http://schemas.openxmlformats.org/officeDocument/2006/relationships/image" Target="../media/image13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5.png"/><Relationship Id="rId5" Type="http://schemas.openxmlformats.org/officeDocument/2006/relationships/image" Target="../media/image144.png"/><Relationship Id="rId4" Type="http://schemas.openxmlformats.org/officeDocument/2006/relationships/image" Target="../media/image143.jp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7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9.xml"/><Relationship Id="rId2" Type="http://schemas.openxmlformats.org/officeDocument/2006/relationships/diagramData" Target="../diagrams/data29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9.xml"/><Relationship Id="rId5" Type="http://schemas.openxmlformats.org/officeDocument/2006/relationships/diagramColors" Target="../diagrams/colors29.xml"/><Relationship Id="rId4" Type="http://schemas.openxmlformats.org/officeDocument/2006/relationships/diagramQuickStyle" Target="../diagrams/quickStyle29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0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3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30.xml"/><Relationship Id="rId5" Type="http://schemas.openxmlformats.org/officeDocument/2006/relationships/oleObject" Target="../embeddings/oleObject2.bin"/><Relationship Id="rId10" Type="http://schemas.microsoft.com/office/2007/relationships/diagramDrawing" Target="../diagrams/drawing30.xml"/><Relationship Id="rId4" Type="http://schemas.openxmlformats.org/officeDocument/2006/relationships/notesSlide" Target="../notesSlides/notesSlide28.xml"/><Relationship Id="rId9" Type="http://schemas.openxmlformats.org/officeDocument/2006/relationships/diagramColors" Target="../diagrams/colors3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1.xml"/><Relationship Id="rId2" Type="http://schemas.openxmlformats.org/officeDocument/2006/relationships/diagramData" Target="../diagrams/data3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1.xml"/><Relationship Id="rId5" Type="http://schemas.openxmlformats.org/officeDocument/2006/relationships/diagramColors" Target="../diagrams/colors31.xml"/><Relationship Id="rId4" Type="http://schemas.openxmlformats.org/officeDocument/2006/relationships/diagramQuickStyle" Target="../diagrams/quickStyle3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2.xml"/><Relationship Id="rId2" Type="http://schemas.openxmlformats.org/officeDocument/2006/relationships/diagramData" Target="../diagrams/data3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2.xml"/><Relationship Id="rId5" Type="http://schemas.openxmlformats.org/officeDocument/2006/relationships/diagramColors" Target="../diagrams/colors32.xml"/><Relationship Id="rId4" Type="http://schemas.openxmlformats.org/officeDocument/2006/relationships/diagramQuickStyle" Target="../diagrams/quickStyle32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9.png"/><Relationship Id="rId3" Type="http://schemas.openxmlformats.org/officeDocument/2006/relationships/diagramLayout" Target="../diagrams/layout33.xml"/><Relationship Id="rId7" Type="http://schemas.openxmlformats.org/officeDocument/2006/relationships/image" Target="../media/image148.png"/><Relationship Id="rId2" Type="http://schemas.openxmlformats.org/officeDocument/2006/relationships/diagramData" Target="../diagrams/data3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3.xml"/><Relationship Id="rId5" Type="http://schemas.openxmlformats.org/officeDocument/2006/relationships/diagramColors" Target="../diagrams/colors33.xml"/><Relationship Id="rId4" Type="http://schemas.openxmlformats.org/officeDocument/2006/relationships/diagramQuickStyle" Target="../diagrams/quickStyle33.xml"/><Relationship Id="rId9" Type="http://schemas.openxmlformats.org/officeDocument/2006/relationships/image" Target="../media/image150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3" Type="http://schemas.openxmlformats.org/officeDocument/2006/relationships/diagramData" Target="../diagrams/data34.xml"/><Relationship Id="rId7" Type="http://schemas.microsoft.com/office/2007/relationships/diagramDrawing" Target="../diagrams/drawing34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4.xml"/><Relationship Id="rId5" Type="http://schemas.openxmlformats.org/officeDocument/2006/relationships/diagramQuickStyle" Target="../diagrams/quickStyle34.xml"/><Relationship Id="rId10" Type="http://schemas.openxmlformats.org/officeDocument/2006/relationships/image" Target="../media/image153.png"/><Relationship Id="rId4" Type="http://schemas.openxmlformats.org/officeDocument/2006/relationships/diagramLayout" Target="../diagrams/layout34.xml"/><Relationship Id="rId9" Type="http://schemas.openxmlformats.org/officeDocument/2006/relationships/image" Target="../media/image152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png"/><Relationship Id="rId3" Type="http://schemas.openxmlformats.org/officeDocument/2006/relationships/diagramData" Target="../diagrams/data35.xml"/><Relationship Id="rId7" Type="http://schemas.microsoft.com/office/2007/relationships/diagramDrawing" Target="../diagrams/drawing35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5.xml"/><Relationship Id="rId5" Type="http://schemas.openxmlformats.org/officeDocument/2006/relationships/diagramQuickStyle" Target="../diagrams/quickStyle35.xml"/><Relationship Id="rId4" Type="http://schemas.openxmlformats.org/officeDocument/2006/relationships/diagramLayout" Target="../diagrams/layout35.xml"/><Relationship Id="rId9" Type="http://schemas.openxmlformats.org/officeDocument/2006/relationships/hyperlink" Target="http://www.pecarn.org/" TargetMode="Externa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6.xml"/><Relationship Id="rId7" Type="http://schemas.microsoft.com/office/2007/relationships/diagramDrawing" Target="../diagrams/drawing36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6.xml"/><Relationship Id="rId5" Type="http://schemas.openxmlformats.org/officeDocument/2006/relationships/diagramQuickStyle" Target="../diagrams/quickStyle36.xml"/><Relationship Id="rId4" Type="http://schemas.openxmlformats.org/officeDocument/2006/relationships/diagramLayout" Target="../diagrams/layout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7.xml"/><Relationship Id="rId7" Type="http://schemas.microsoft.com/office/2007/relationships/diagramDrawing" Target="../diagrams/drawing37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7.xml"/><Relationship Id="rId5" Type="http://schemas.openxmlformats.org/officeDocument/2006/relationships/diagramQuickStyle" Target="../diagrams/quickStyle37.xml"/><Relationship Id="rId4" Type="http://schemas.openxmlformats.org/officeDocument/2006/relationships/diagramLayout" Target="../diagrams/layout3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8.xml"/><Relationship Id="rId7" Type="http://schemas.microsoft.com/office/2007/relationships/diagramDrawing" Target="../diagrams/drawing38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6" Type="http://schemas.openxmlformats.org/officeDocument/2006/relationships/diagramColors" Target="../diagrams/colors38.xml"/><Relationship Id="rId5" Type="http://schemas.openxmlformats.org/officeDocument/2006/relationships/diagramQuickStyle" Target="../diagrams/quickStyle38.xml"/><Relationship Id="rId4" Type="http://schemas.openxmlformats.org/officeDocument/2006/relationships/diagramLayout" Target="../diagrams/layout3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9.xml"/><Relationship Id="rId2" Type="http://schemas.openxmlformats.org/officeDocument/2006/relationships/diagramData" Target="../diagrams/data39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39.xml"/><Relationship Id="rId5" Type="http://schemas.openxmlformats.org/officeDocument/2006/relationships/diagramColors" Target="../diagrams/colors39.xml"/><Relationship Id="rId4" Type="http://schemas.openxmlformats.org/officeDocument/2006/relationships/diagramQuickStyle" Target="../diagrams/quickStyle3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6.jpe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5.jp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9.jpeg"/><Relationship Id="rId5" Type="http://schemas.openxmlformats.org/officeDocument/2006/relationships/image" Target="../media/image12.png"/><Relationship Id="rId4" Type="http://schemas.openxmlformats.org/officeDocument/2006/relationships/image" Target="../media/image157.jpeg"/><Relationship Id="rId9" Type="http://schemas.openxmlformats.org/officeDocument/2006/relationships/image" Target="../media/image158.tif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image" Target="../media/image159.jp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2.jpeg"/><Relationship Id="rId4" Type="http://schemas.openxmlformats.org/officeDocument/2006/relationships/image" Target="../media/image16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22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  <a:alpha val="3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975611753"/>
              </p:ext>
            </p:extLst>
          </p:nvPr>
        </p:nvGraphicFramePr>
        <p:xfrm>
          <a:off x="1467644" y="1660639"/>
          <a:ext cx="6705600" cy="1752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523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371600" y="3664200"/>
            <a:ext cx="7123112" cy="1673225"/>
          </a:xfrm>
        </p:spPr>
        <p:txBody>
          <a:bodyPr>
            <a:normAutofit lnSpcReduction="10000"/>
          </a:bodyPr>
          <a:lstStyle/>
          <a:p>
            <a:pPr marL="0" indent="0" algn="r">
              <a:lnSpc>
                <a:spcPct val="80000"/>
              </a:lnSpc>
              <a:buNone/>
            </a:pPr>
            <a:endParaRPr lang="en-US" sz="2800" dirty="0"/>
          </a:p>
          <a:p>
            <a:pPr marL="0" indent="0" algn="ctr">
              <a:lnSpc>
                <a:spcPct val="80000"/>
              </a:lnSpc>
              <a:buNone/>
            </a:pPr>
            <a:r>
              <a:rPr lang="en-US" dirty="0"/>
              <a:t>Kim Little-Wienert, MD, M</a:t>
            </a:r>
            <a:r>
              <a:rPr lang="en-US" sz="2800" dirty="0"/>
              <a:t>E</a:t>
            </a:r>
            <a:r>
              <a:rPr lang="en-US" dirty="0"/>
              <a:t>d</a:t>
            </a:r>
          </a:p>
          <a:p>
            <a:pPr marL="0" indent="0" algn="ctr">
              <a:lnSpc>
                <a:spcPct val="80000"/>
              </a:lnSpc>
              <a:buNone/>
            </a:pPr>
            <a:r>
              <a:rPr lang="en-US" sz="2800" dirty="0"/>
              <a:t>Marideth Rus, MD, MEd</a:t>
            </a:r>
          </a:p>
          <a:p>
            <a:pPr marL="0" indent="0" algn="ctr">
              <a:lnSpc>
                <a:spcPct val="80000"/>
              </a:lnSpc>
              <a:buNone/>
            </a:pPr>
            <a:r>
              <a:rPr lang="en-US" sz="2800" dirty="0"/>
              <a:t>Elizabeth (Liz) Moran, MD, ME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5448" y="5588386"/>
            <a:ext cx="1213104" cy="12192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5334000"/>
            <a:ext cx="2218761" cy="142634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B71FA99-485A-492D-A029-F748487C554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11359" y="-89222"/>
            <a:ext cx="5618169" cy="1749861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64" y="176318"/>
            <a:ext cx="8153400" cy="990600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rgbClr val="002060"/>
                </a:solidFill>
              </a:rPr>
              <a:t>Tri-Campus TCH Arrivals 2018-2021</a:t>
            </a:r>
          </a:p>
        </p:txBody>
      </p:sp>
      <p:sp>
        <p:nvSpPr>
          <p:cNvPr id="9" name="TextBox 4"/>
          <p:cNvSpPr txBox="1"/>
          <p:nvPr/>
        </p:nvSpPr>
        <p:spPr>
          <a:xfrm>
            <a:off x="2133600" y="4790049"/>
            <a:ext cx="2362200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1" name="TextBox 3"/>
          <p:cNvSpPr txBox="1"/>
          <p:nvPr/>
        </p:nvSpPr>
        <p:spPr>
          <a:xfrm>
            <a:off x="5672675" y="4800600"/>
            <a:ext cx="2209800" cy="36933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b="1" u="sng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F8678E9-666B-7948-A147-2074EA8B74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04589" y="1981200"/>
            <a:ext cx="9353177" cy="3979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4209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876" y="228600"/>
            <a:ext cx="8153400" cy="990600"/>
          </a:xfrm>
        </p:spPr>
        <p:txBody>
          <a:bodyPr>
            <a:normAutofit/>
          </a:bodyPr>
          <a:lstStyle/>
          <a:p>
            <a:r>
              <a:rPr lang="en-US" sz="4000" b="1" dirty="0"/>
              <a:t>Patient Acuit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888C45-4327-F746-990A-E1649AE590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360150"/>
            <a:ext cx="3936042" cy="2514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20AD18B-3FC7-1F4F-862E-43287B0F31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1360150"/>
            <a:ext cx="3936042" cy="25146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AF15A88-B046-814F-9792-F2AE91D4D8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3774" y="3984172"/>
            <a:ext cx="6596451" cy="2873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8148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 &amp; Objectives</a:t>
            </a:r>
          </a:p>
        </p:txBody>
      </p:sp>
      <p:graphicFrame>
        <p:nvGraphicFramePr>
          <p:cNvPr id="96263" name="Rectangle 3">
            <a:extLst>
              <a:ext uri="{FF2B5EF4-FFF2-40B4-BE49-F238E27FC236}">
                <a16:creationId xmlns:a16="http://schemas.microsoft.com/office/drawing/2014/main" id="{BA6FF13E-FE11-4E7C-A25D-96C4852C5977}"/>
              </a:ext>
            </a:extLst>
          </p:cNvPr>
          <p:cNvGraphicFramePr>
            <a:graphicFrameLocks noGrp="1"/>
          </p:cNvGraphicFramePr>
          <p:nvPr>
            <p:ph sz="quarter" idx="1"/>
          </p:nvPr>
        </p:nvGraphicFramePr>
        <p:xfrm>
          <a:off x="612648" y="1600200"/>
          <a:ext cx="81534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4" descr="A group of people sitting at a table in a restaurant&#10;&#10;Description automatically generated">
            <a:extLst>
              <a:ext uri="{FF2B5EF4-FFF2-40B4-BE49-F238E27FC236}">
                <a16:creationId xmlns:a16="http://schemas.microsoft.com/office/drawing/2014/main" id="{BB3B2D0E-5D15-4AE4-8C6E-A63194BA777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4657725"/>
            <a:ext cx="2895600" cy="21717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900048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ChangeArrowheads="1"/>
          </p:cNvSpPr>
          <p:nvPr>
            <p:ph type="title"/>
          </p:nvPr>
        </p:nvSpPr>
        <p:spPr>
          <a:xfrm>
            <a:off x="1219200" y="0"/>
            <a:ext cx="6705600" cy="1143000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PEM Fellowship Curriculum</a:t>
            </a:r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07151317"/>
              </p:ext>
            </p:extLst>
          </p:nvPr>
        </p:nvGraphicFramePr>
        <p:xfrm>
          <a:off x="152400" y="1600200"/>
          <a:ext cx="7620000" cy="4932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custDataLst>
      <p:tags r:id="rId1"/>
    </p:custData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346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152400"/>
            <a:ext cx="6705600" cy="1143000"/>
          </a:xfrm>
        </p:spPr>
        <p:txBody>
          <a:bodyPr/>
          <a:lstStyle/>
          <a:p>
            <a:r>
              <a:rPr lang="en-US" dirty="0"/>
              <a:t>Clinical practice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07596679"/>
              </p:ext>
            </p:extLst>
          </p:nvPr>
        </p:nvGraphicFramePr>
        <p:xfrm>
          <a:off x="152400" y="1676400"/>
          <a:ext cx="8763000" cy="4876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91200" y="140368"/>
            <a:ext cx="3252587" cy="1414408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52400"/>
            <a:ext cx="6705600" cy="1143000"/>
          </a:xfrm>
        </p:spPr>
        <p:txBody>
          <a:bodyPr/>
          <a:lstStyle/>
          <a:p>
            <a:pPr algn="ctr"/>
            <a:r>
              <a:rPr lang="en-US" dirty="0"/>
              <a:t>Teaching and consulting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521524487"/>
              </p:ext>
            </p:extLst>
          </p:nvPr>
        </p:nvGraphicFramePr>
        <p:xfrm>
          <a:off x="609600" y="1524000"/>
          <a:ext cx="8001000" cy="533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title"/>
          </p:nvPr>
        </p:nvSpPr>
        <p:spPr>
          <a:xfrm>
            <a:off x="-304800" y="140368"/>
            <a:ext cx="6934200" cy="1143000"/>
          </a:xfrm>
        </p:spPr>
        <p:txBody>
          <a:bodyPr/>
          <a:lstStyle/>
          <a:p>
            <a:pPr algn="ctr"/>
            <a:r>
              <a:rPr lang="en-US" dirty="0"/>
              <a:t>Administrative training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22185518"/>
              </p:ext>
            </p:extLst>
          </p:nvPr>
        </p:nvGraphicFramePr>
        <p:xfrm>
          <a:off x="228600" y="1771160"/>
          <a:ext cx="7685087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TextBox 4"/>
          <p:cNvSpPr txBox="1"/>
          <p:nvPr/>
        </p:nvSpPr>
        <p:spPr>
          <a:xfrm flipH="1">
            <a:off x="6781800" y="3048000"/>
            <a:ext cx="25908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Dr. Deborah Hsu</a:t>
            </a:r>
          </a:p>
          <a:p>
            <a:pPr algn="ctr"/>
            <a:r>
              <a:rPr lang="en-US" sz="1000" b="1" dirty="0"/>
              <a:t>Section Chief, </a:t>
            </a:r>
          </a:p>
          <a:p>
            <a:pPr algn="ctr"/>
            <a:r>
              <a:rPr lang="en-US" sz="1000" b="1" dirty="0"/>
              <a:t>Pediatric Emergency Medicine</a:t>
            </a:r>
          </a:p>
        </p:txBody>
      </p:sp>
      <p:pic>
        <p:nvPicPr>
          <p:cNvPr id="6" name="Content Placeholder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1603" y="1283368"/>
            <a:ext cx="1141048" cy="17101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custDataLst>
      <p:tags r:id="rId1"/>
    </p:custData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110448"/>
            <a:ext cx="8991600" cy="1143000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Quality and Performance Improvement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7600" y="1371600"/>
            <a:ext cx="1206500" cy="18169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4" name="Content Placeholder 3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2138243369"/>
              </p:ext>
            </p:extLst>
          </p:nvPr>
        </p:nvGraphicFramePr>
        <p:xfrm>
          <a:off x="158750" y="1600200"/>
          <a:ext cx="67056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553200" y="2829687"/>
            <a:ext cx="3200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Dr. Binita Patel, </a:t>
            </a:r>
          </a:p>
          <a:p>
            <a:pPr algn="ctr"/>
            <a:r>
              <a:rPr lang="en-US" sz="1200" dirty="0"/>
              <a:t>Medical Director </a:t>
            </a:r>
          </a:p>
          <a:p>
            <a:pPr algn="ctr"/>
            <a:r>
              <a:rPr lang="en-US" sz="1200" dirty="0"/>
              <a:t>Chief Quality Officer</a:t>
            </a:r>
            <a:r>
              <a:rPr lang="en-US" sz="1600" dirty="0"/>
              <a:t> </a:t>
            </a:r>
          </a:p>
          <a:p>
            <a:pPr algn="ctr"/>
            <a:endParaRPr lang="en-US" sz="1600" i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3EC02B-0183-6A46-BD22-84327624D28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4318" t="4157" r="6718" b="6576"/>
          <a:stretch/>
        </p:blipFill>
        <p:spPr>
          <a:xfrm>
            <a:off x="6887501" y="3551024"/>
            <a:ext cx="1286414" cy="17341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34997" y="4978112"/>
            <a:ext cx="1426588" cy="18289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86655CD-3F49-4896-9716-A9B6404F04DE}"/>
              </a:ext>
            </a:extLst>
          </p:cNvPr>
          <p:cNvPicPr/>
          <p:nvPr/>
        </p:nvPicPr>
        <p:blipFill>
          <a:blip r:embed="rId11"/>
          <a:stretch>
            <a:fillRect/>
          </a:stretch>
        </p:blipFill>
        <p:spPr>
          <a:xfrm>
            <a:off x="6037620" y="5120385"/>
            <a:ext cx="1031160" cy="158521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266948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er development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58791992"/>
              </p:ext>
            </p:extLst>
          </p:nvPr>
        </p:nvGraphicFramePr>
        <p:xfrm>
          <a:off x="152512" y="1600200"/>
          <a:ext cx="73914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48400" y="-16848"/>
            <a:ext cx="2591025" cy="1938696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Fellowship Curriculum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77097048"/>
              </p:ext>
            </p:extLst>
          </p:nvPr>
        </p:nvGraphicFramePr>
        <p:xfrm>
          <a:off x="1219200" y="1715686"/>
          <a:ext cx="7275512" cy="411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24600" y="4934270"/>
            <a:ext cx="2388393" cy="1792432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tch.jpg"/>
          <p:cNvPicPr>
            <a:picLocks noGrp="1" noChangeAspect="1"/>
          </p:cNvPicPr>
          <p:nvPr>
            <p:ph sz="quarter" idx="1"/>
          </p:nvPr>
        </p:nvPicPr>
        <p:blipFill>
          <a:blip r:embed="rId3" cstate="print"/>
          <a:stretch>
            <a:fillRect/>
          </a:stretch>
        </p:blipFill>
        <p:spPr>
          <a:xfrm>
            <a:off x="2514600" y="1447800"/>
            <a:ext cx="4724400" cy="27066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 descr="Baylorcollegeofmedicinefountain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910475" y="4186572"/>
            <a:ext cx="3932650" cy="244074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1609344" y="457200"/>
            <a:ext cx="56388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Calibri" charset="0"/>
                <a:ea typeface="ＭＳ Ｐゴシック" charset="0"/>
                <a:cs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Calibri" charset="0"/>
                <a:ea typeface="ＭＳ Ｐゴシック" charset="0"/>
                <a:cs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Calibri" charset="0"/>
                <a:ea typeface="ＭＳ Ｐゴシック" charset="0"/>
                <a:cs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Calibri" charset="0"/>
                <a:ea typeface="ＭＳ Ｐゴシック" charset="0"/>
                <a:cs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n-US" sz="4800" kern="0" dirty="0">
                <a:solidFill>
                  <a:srgbClr val="002060"/>
                </a:solidFill>
              </a:rPr>
              <a:t>Welcome to Texas!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76200"/>
            <a:ext cx="8153400" cy="106680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pPr algn="ctr"/>
            <a:r>
              <a:rPr lang="en-US" sz="4000" dirty="0"/>
              <a:t>First year curriculum – </a:t>
            </a:r>
            <a:br>
              <a:rPr lang="en-US" sz="4000" dirty="0"/>
            </a:br>
            <a:r>
              <a:rPr lang="en-US" sz="4000" dirty="0" err="1"/>
              <a:t>Peds</a:t>
            </a:r>
            <a:r>
              <a:rPr lang="en-US" sz="4000" dirty="0"/>
              <a:t> trained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27217875"/>
              </p:ext>
            </p:extLst>
          </p:nvPr>
        </p:nvGraphicFramePr>
        <p:xfrm>
          <a:off x="762000" y="1905000"/>
          <a:ext cx="7239000" cy="4459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custDataLst>
      <p:tags r:id="rId1"/>
    </p:custData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0"/>
            <a:ext cx="8153400" cy="121920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r>
              <a:rPr lang="en-US" sz="3600" dirty="0"/>
              <a:t>First year curriculum – </a:t>
            </a:r>
            <a:br>
              <a:rPr lang="en-US" sz="3600" dirty="0"/>
            </a:br>
            <a:r>
              <a:rPr lang="en-US" sz="3600" dirty="0"/>
              <a:t>EM trained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45776300"/>
              </p:ext>
            </p:extLst>
          </p:nvPr>
        </p:nvGraphicFramePr>
        <p:xfrm>
          <a:off x="838200" y="1747157"/>
          <a:ext cx="73152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custDataLst>
      <p:tags r:id="rId1"/>
    </p:custData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229600" cy="114300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r>
              <a:rPr lang="en-US" sz="3600" dirty="0"/>
              <a:t>Second year curriculum – </a:t>
            </a:r>
            <a:br>
              <a:rPr lang="en-US" sz="3600" dirty="0"/>
            </a:br>
            <a:r>
              <a:rPr lang="en-US" sz="3600" dirty="0" err="1"/>
              <a:t>Peds</a:t>
            </a:r>
            <a:r>
              <a:rPr lang="en-US" sz="3600" dirty="0"/>
              <a:t> trained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46918824"/>
              </p:ext>
            </p:extLst>
          </p:nvPr>
        </p:nvGraphicFramePr>
        <p:xfrm>
          <a:off x="685800" y="1752600"/>
          <a:ext cx="7315200" cy="4383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76200"/>
            <a:ext cx="8153400" cy="114300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r>
              <a:rPr lang="en-US" sz="3600" dirty="0"/>
              <a:t>Second year curriculum – </a:t>
            </a:r>
            <a:br>
              <a:rPr lang="en-US" sz="3600" dirty="0"/>
            </a:br>
            <a:r>
              <a:rPr lang="en-US" sz="3600" dirty="0"/>
              <a:t>EM trained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5390547"/>
              </p:ext>
            </p:extLst>
          </p:nvPr>
        </p:nvGraphicFramePr>
        <p:xfrm>
          <a:off x="762000" y="1752600"/>
          <a:ext cx="7391400" cy="4535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custDataLst>
      <p:tags r:id="rId1"/>
    </p:custData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0"/>
            <a:ext cx="9067800" cy="121920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ctr"/>
            <a:r>
              <a:rPr lang="en-US" sz="3600" dirty="0"/>
              <a:t>Third year curriculum – </a:t>
            </a:r>
            <a:br>
              <a:rPr lang="en-US" sz="3600" dirty="0"/>
            </a:br>
            <a:r>
              <a:rPr lang="en-US" sz="3600" dirty="0"/>
              <a:t>peds trained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42723982"/>
              </p:ext>
            </p:extLst>
          </p:nvPr>
        </p:nvGraphicFramePr>
        <p:xfrm>
          <a:off x="381000" y="1222248"/>
          <a:ext cx="8647176" cy="5943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898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152400"/>
            <a:ext cx="8153400" cy="99060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n-US" dirty="0"/>
              <a:t>Extra hours experience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41947271"/>
              </p:ext>
            </p:extLst>
          </p:nvPr>
        </p:nvGraphicFramePr>
        <p:xfrm>
          <a:off x="150829" y="1676400"/>
          <a:ext cx="8763000" cy="46783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custDataLst>
      <p:tags r:id="rId1"/>
    </p:custData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19200" y="76200"/>
            <a:ext cx="6705600" cy="1143000"/>
          </a:xfrm>
        </p:spPr>
        <p:txBody>
          <a:bodyPr/>
          <a:lstStyle/>
          <a:p>
            <a:pPr algn="ctr"/>
            <a:r>
              <a:rPr lang="en-US" dirty="0"/>
              <a:t>All Fellows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933789584"/>
              </p:ext>
            </p:extLst>
          </p:nvPr>
        </p:nvGraphicFramePr>
        <p:xfrm>
          <a:off x="304800" y="1447800"/>
          <a:ext cx="8534400" cy="533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74" name="Rectangle 2"/>
          <p:cNvSpPr>
            <a:spLocks noGrp="1" noChangeArrowheads="1"/>
          </p:cNvSpPr>
          <p:nvPr>
            <p:ph type="title"/>
          </p:nvPr>
        </p:nvSpPr>
        <p:spPr>
          <a:xfrm>
            <a:off x="-685800" y="304800"/>
            <a:ext cx="6705600" cy="1143000"/>
          </a:xfrm>
        </p:spPr>
        <p:txBody>
          <a:bodyPr/>
          <a:lstStyle/>
          <a:p>
            <a:pPr algn="ctr"/>
            <a:r>
              <a:rPr lang="en-US" sz="4800" dirty="0"/>
              <a:t>PEM Rotations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521969592"/>
              </p:ext>
            </p:extLst>
          </p:nvPr>
        </p:nvGraphicFramePr>
        <p:xfrm>
          <a:off x="533400" y="1752600"/>
          <a:ext cx="74676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custDataLst>
      <p:tags r:id="rId1"/>
    </p:custData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5443" y="152400"/>
            <a:ext cx="6705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PEM-Global Health Combined Fellowship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836778476"/>
              </p:ext>
            </p:extLst>
          </p:nvPr>
        </p:nvGraphicFramePr>
        <p:xfrm>
          <a:off x="228600" y="1752600"/>
          <a:ext cx="8610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l="68932" t="25362" r="11651" b="39180"/>
          <a:stretch/>
        </p:blipFill>
        <p:spPr>
          <a:xfrm>
            <a:off x="6553200" y="79248"/>
            <a:ext cx="2455817" cy="1289304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152400"/>
            <a:ext cx="7467600" cy="1143000"/>
          </a:xfrm>
        </p:spPr>
        <p:txBody>
          <a:bodyPr>
            <a:normAutofit/>
          </a:bodyPr>
          <a:lstStyle/>
          <a:p>
            <a:r>
              <a:rPr lang="en-US" dirty="0"/>
              <a:t>PEM-Global Health Fellowship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605" y="2034254"/>
            <a:ext cx="1896020" cy="226181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t="5806" r="1080"/>
          <a:stretch/>
        </p:blipFill>
        <p:spPr>
          <a:xfrm>
            <a:off x="2438400" y="1134687"/>
            <a:ext cx="6705600" cy="5715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-437508" y="4296066"/>
            <a:ext cx="381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Dr. Marideth Rus, </a:t>
            </a:r>
          </a:p>
          <a:p>
            <a:pPr algn="ctr"/>
            <a:r>
              <a:rPr lang="en-US" sz="1400" dirty="0"/>
              <a:t>Director, Global Health Fellowship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5" t="13890" r="5372" b="16666"/>
          <a:stretch/>
        </p:blipFill>
        <p:spPr>
          <a:xfrm>
            <a:off x="2" y="4470524"/>
            <a:ext cx="4267198" cy="2438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8" t="18925" r="6316" b="16085"/>
          <a:stretch/>
        </p:blipFill>
        <p:spPr>
          <a:xfrm>
            <a:off x="4273296" y="4496474"/>
            <a:ext cx="4928731" cy="24124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050434" y="228600"/>
            <a:ext cx="9669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2021</a:t>
            </a:r>
          </a:p>
        </p:txBody>
      </p:sp>
      <p:pic>
        <p:nvPicPr>
          <p:cNvPr id="5" name="Picture 4" descr="PEM Fellows 2022-2023&#10;&#10;">
            <a:extLst>
              <a:ext uri="{FF2B5EF4-FFF2-40B4-BE49-F238E27FC236}">
                <a16:creationId xmlns:a16="http://schemas.microsoft.com/office/drawing/2014/main" id="{5A78D63F-4F42-6843-84CF-A8605D8B0D6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2890" y="1249"/>
            <a:ext cx="5662017" cy="444624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776A2E7-ACC7-4941-8239-C6F076C2832D}"/>
              </a:ext>
            </a:extLst>
          </p:cNvPr>
          <p:cNvSpPr txBox="1"/>
          <p:nvPr/>
        </p:nvSpPr>
        <p:spPr>
          <a:xfrm>
            <a:off x="2830419" y="31984"/>
            <a:ext cx="34069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EM Fellows 2022-2023</a:t>
            </a:r>
          </a:p>
        </p:txBody>
      </p:sp>
    </p:spTree>
    <p:extLst>
      <p:ext uri="{BB962C8B-B14F-4D97-AF65-F5344CB8AC3E}">
        <p14:creationId xmlns:p14="http://schemas.microsoft.com/office/powerpoint/2010/main" val="3061074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PEM-Global Health Combined Fellowship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-1479" r="11827" b="1"/>
          <a:stretch/>
        </p:blipFill>
        <p:spPr>
          <a:xfrm>
            <a:off x="2595671" y="1524000"/>
            <a:ext cx="3576529" cy="5228912"/>
          </a:xfrm>
          <a:prstGeom prst="rect">
            <a:avLst/>
          </a:prstGeom>
          <a:ln w="228600" cap="sq" cmpd="thickThin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133006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Rectangle 2"/>
          <p:cNvSpPr>
            <a:spLocks noGrp="1" noChangeArrowheads="1"/>
          </p:cNvSpPr>
          <p:nvPr>
            <p:ph type="title"/>
          </p:nvPr>
        </p:nvSpPr>
        <p:spPr>
          <a:xfrm>
            <a:off x="990600" y="-38100"/>
            <a:ext cx="6705600" cy="1143000"/>
          </a:xfrm>
        </p:spPr>
        <p:txBody>
          <a:bodyPr/>
          <a:lstStyle/>
          <a:p>
            <a:pPr algn="ctr"/>
            <a:r>
              <a:rPr lang="en-US" dirty="0"/>
              <a:t>Electiv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4294967295"/>
          </p:nvPr>
        </p:nvSpPr>
        <p:spPr>
          <a:xfrm>
            <a:off x="685800" y="675308"/>
            <a:ext cx="7593012" cy="685800"/>
          </a:xfrm>
        </p:spPr>
        <p:txBody>
          <a:bodyPr>
            <a:normAutofit fontScale="40000" lnSpcReduction="20000"/>
          </a:bodyPr>
          <a:lstStyle/>
          <a:p>
            <a:endParaRPr lang="en-US" sz="3200" dirty="0"/>
          </a:p>
          <a:p>
            <a:pPr marL="0" indent="0" algn="ctr">
              <a:buNone/>
            </a:pPr>
            <a:r>
              <a:rPr lang="en-US" sz="7000" i="1" dirty="0"/>
              <a:t>4 weeks of elective(s) required</a:t>
            </a:r>
          </a:p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294967295"/>
          </p:nvPr>
        </p:nvSpPr>
        <p:spPr>
          <a:xfrm>
            <a:off x="5638800" y="1828800"/>
            <a:ext cx="3505200" cy="3581400"/>
          </a:xfrm>
        </p:spPr>
        <p:txBody>
          <a:bodyPr>
            <a:normAutofit fontScale="85000" lnSpcReduction="10000"/>
          </a:bodyPr>
          <a:lstStyle/>
          <a:p>
            <a:r>
              <a:rPr lang="en-US" sz="2600" dirty="0"/>
              <a:t>Neurosurgery</a:t>
            </a:r>
          </a:p>
          <a:p>
            <a:r>
              <a:rPr lang="en-US" sz="2600" dirty="0"/>
              <a:t>Ophthalmology</a:t>
            </a:r>
          </a:p>
          <a:p>
            <a:r>
              <a:rPr lang="en-US" sz="2600" dirty="0"/>
              <a:t>Otolaryngology</a:t>
            </a:r>
          </a:p>
          <a:p>
            <a:r>
              <a:rPr lang="en-US" sz="2600" dirty="0"/>
              <a:t>Pediatric Dentistry</a:t>
            </a:r>
          </a:p>
          <a:p>
            <a:r>
              <a:rPr lang="en-US" sz="2600" dirty="0"/>
              <a:t>Plastic/Hand Surgery</a:t>
            </a:r>
          </a:p>
          <a:p>
            <a:r>
              <a:rPr lang="en-US" sz="2600" dirty="0"/>
              <a:t>Pediatric Injury</a:t>
            </a:r>
          </a:p>
          <a:p>
            <a:r>
              <a:rPr lang="en-US" sz="2600" dirty="0"/>
              <a:t>Quality and Safety</a:t>
            </a:r>
          </a:p>
          <a:p>
            <a:r>
              <a:rPr lang="en-US" sz="2600" dirty="0"/>
              <a:t>Simulation</a:t>
            </a:r>
          </a:p>
          <a:p>
            <a:r>
              <a:rPr lang="en-US" sz="2600" dirty="0"/>
              <a:t>Create your own elective</a:t>
            </a:r>
          </a:p>
          <a:p>
            <a:endParaRPr lang="en-US" dirty="0"/>
          </a:p>
        </p:txBody>
      </p:sp>
      <p:sp>
        <p:nvSpPr>
          <p:cNvPr id="143363" name="Rectangle 3"/>
          <p:cNvSpPr>
            <a:spLocks noGrp="1" noChangeArrowheads="1"/>
          </p:cNvSpPr>
          <p:nvPr>
            <p:ph sz="half" idx="4294967295"/>
          </p:nvPr>
        </p:nvSpPr>
        <p:spPr>
          <a:xfrm>
            <a:off x="0" y="1828800"/>
            <a:ext cx="4114800" cy="3581400"/>
          </a:xfrm>
        </p:spPr>
        <p:txBody>
          <a:bodyPr>
            <a:noAutofit/>
          </a:bodyPr>
          <a:lstStyle/>
          <a:p>
            <a:r>
              <a:rPr lang="en-US" sz="2200" dirty="0"/>
              <a:t>Administrative elective </a:t>
            </a:r>
          </a:p>
          <a:p>
            <a:r>
              <a:rPr lang="en-US" sz="2200" dirty="0"/>
              <a:t>Adolescent medicine/gynecology</a:t>
            </a:r>
          </a:p>
          <a:p>
            <a:r>
              <a:rPr lang="en-US" sz="2200" dirty="0"/>
              <a:t>Adolescent medicine/sports medicine</a:t>
            </a:r>
          </a:p>
          <a:p>
            <a:r>
              <a:rPr lang="en-US" sz="2200" dirty="0"/>
              <a:t>Dermatology</a:t>
            </a:r>
          </a:p>
          <a:p>
            <a:r>
              <a:rPr lang="en-US" sz="2200" dirty="0"/>
              <a:t>Global health- Malawi, Beliz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7400" y="5266704"/>
            <a:ext cx="2807372" cy="159129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333625" y="4905375"/>
            <a:ext cx="2057400" cy="154305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067800" cy="1524000"/>
          </a:xfrm>
        </p:spPr>
        <p:txBody>
          <a:bodyPr>
            <a:normAutofit/>
          </a:bodyPr>
          <a:lstStyle/>
          <a:p>
            <a:pPr algn="ctr"/>
            <a:r>
              <a:rPr lang="en-US" sz="4000" dirty="0"/>
              <a:t>Academics: Conferences and Lectures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23440287"/>
              </p:ext>
            </p:extLst>
          </p:nvPr>
        </p:nvGraphicFramePr>
        <p:xfrm>
          <a:off x="304800" y="1752600"/>
          <a:ext cx="7467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62B3080-4FAB-4778-81E6-6B01E957C9C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4572000"/>
            <a:ext cx="2844800" cy="213360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71500" y="196034"/>
            <a:ext cx="8153400" cy="990600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Conferences Series-</a:t>
            </a:r>
            <a:b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24 month  Curriculum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381000" y="1676400"/>
            <a:ext cx="6705600" cy="4525963"/>
          </a:xfrm>
        </p:spPr>
        <p:txBody>
          <a:bodyPr>
            <a:normAutofit/>
          </a:bodyPr>
          <a:lstStyle/>
          <a:p>
            <a:r>
              <a:rPr lang="en-US" sz="2400" dirty="0"/>
              <a:t>July core clinical lectures/workshops</a:t>
            </a:r>
          </a:p>
          <a:p>
            <a:r>
              <a:rPr lang="en-US" sz="2400" dirty="0"/>
              <a:t>Administrative</a:t>
            </a:r>
          </a:p>
          <a:p>
            <a:r>
              <a:rPr lang="en-US" sz="2400" dirty="0"/>
              <a:t>Allergy/Immunology</a:t>
            </a:r>
          </a:p>
          <a:p>
            <a:r>
              <a:rPr lang="en-US" sz="2400" dirty="0"/>
              <a:t>Cardiology </a:t>
            </a:r>
          </a:p>
          <a:p>
            <a:r>
              <a:rPr lang="en-US" sz="2400" dirty="0"/>
              <a:t>Child Protection </a:t>
            </a:r>
          </a:p>
          <a:p>
            <a:r>
              <a:rPr lang="en-US" sz="2400" dirty="0"/>
              <a:t>Endocrine </a:t>
            </a:r>
          </a:p>
          <a:p>
            <a:r>
              <a:rPr lang="en-US" sz="2400" dirty="0"/>
              <a:t>EMS/Disaster medicine </a:t>
            </a:r>
          </a:p>
          <a:p>
            <a:r>
              <a:rPr lang="en-US" sz="2400" dirty="0"/>
              <a:t>Ethics</a:t>
            </a:r>
          </a:p>
          <a:p>
            <a:r>
              <a:rPr lang="en-US" sz="2400" dirty="0"/>
              <a:t>Hematology serie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1493" y="5010819"/>
            <a:ext cx="1165337" cy="17545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11" name="Straight Arrow Connector 10"/>
          <p:cNvCxnSpPr/>
          <p:nvPr/>
        </p:nvCxnSpPr>
        <p:spPr>
          <a:xfrm>
            <a:off x="4073728" y="4623748"/>
            <a:ext cx="1831316" cy="52063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3048000" y="3733800"/>
            <a:ext cx="1103031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Shook.Joan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40772" y="1639308"/>
            <a:ext cx="880730" cy="13260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15" name="Straight Arrow Connector 14"/>
          <p:cNvCxnSpPr>
            <a:cxnSpLocks/>
          </p:cNvCxnSpPr>
          <p:nvPr/>
        </p:nvCxnSpPr>
        <p:spPr>
          <a:xfrm>
            <a:off x="4752109" y="2286000"/>
            <a:ext cx="1152935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Lyn_Michelle_Anderson_034531_Pedi_Emerg_Med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648200" y="2914549"/>
            <a:ext cx="1121637" cy="15702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74481" y="2914549"/>
            <a:ext cx="1260703" cy="1596891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37235" y="5001116"/>
            <a:ext cx="1168533" cy="1764255"/>
          </a:xfrm>
          <a:prstGeom prst="rect">
            <a:avLst/>
          </a:prstGeom>
        </p:spPr>
      </p:pic>
      <p:pic>
        <p:nvPicPr>
          <p:cNvPr id="12" name="Picture 11" descr="Ojo_Aderonke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199474" y="1612587"/>
            <a:ext cx="914400" cy="137948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Content Placeholder 6">
            <a:extLst>
              <a:ext uri="{FF2B5EF4-FFF2-40B4-BE49-F238E27FC236}">
                <a16:creationId xmlns:a16="http://schemas.microsoft.com/office/drawing/2014/main" id="{F84D1F5B-CA4D-D742-9A12-CF0798753CC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070" y="1680859"/>
            <a:ext cx="880730" cy="131996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FE6B2B8-7480-4CCA-937C-0EDF34A8FC8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95043" y="5113390"/>
            <a:ext cx="1346089" cy="1630092"/>
          </a:xfrm>
          <a:prstGeom prst="rect">
            <a:avLst/>
          </a:prstGeom>
          <a:effectLst>
            <a:softEdge rad="6350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057737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10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152400"/>
            <a:ext cx="8915400" cy="914400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Conferences Series-</a:t>
            </a:r>
            <a:b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24 month Curriculum</a:t>
            </a:r>
          </a:p>
        </p:txBody>
      </p:sp>
      <p:sp>
        <p:nvSpPr>
          <p:cNvPr id="171011" name="Rectangle 3"/>
          <p:cNvSpPr>
            <a:spLocks noGrp="1" noChangeArrowheads="1"/>
          </p:cNvSpPr>
          <p:nvPr>
            <p:ph sz="quarter" idx="1"/>
          </p:nvPr>
        </p:nvSpPr>
        <p:spPr>
          <a:xfrm>
            <a:off x="228600" y="1600200"/>
            <a:ext cx="3886200" cy="4572000"/>
          </a:xfrm>
        </p:spPr>
        <p:txBody>
          <a:bodyPr>
            <a:noAutofit/>
          </a:bodyPr>
          <a:lstStyle/>
          <a:p>
            <a:r>
              <a:rPr lang="en-US" sz="2400" dirty="0"/>
              <a:t>Gastroenterology </a:t>
            </a:r>
          </a:p>
          <a:p>
            <a:r>
              <a:rPr lang="en-US" sz="2400" dirty="0"/>
              <a:t>Global Health</a:t>
            </a:r>
            <a:endParaRPr lang="en-US" sz="2400" dirty="0">
              <a:solidFill>
                <a:srgbClr val="FF0000"/>
              </a:solidFill>
            </a:endParaRPr>
          </a:p>
          <a:p>
            <a:r>
              <a:rPr lang="en-US" sz="2400" dirty="0"/>
              <a:t>Neurology </a:t>
            </a:r>
          </a:p>
          <a:p>
            <a:r>
              <a:rPr lang="en-US" sz="2400" dirty="0"/>
              <a:t>Obstetrics and gynecology </a:t>
            </a:r>
          </a:p>
          <a:p>
            <a:r>
              <a:rPr lang="en-US" sz="2400" dirty="0"/>
              <a:t>Orthopedics </a:t>
            </a:r>
          </a:p>
          <a:p>
            <a:r>
              <a:rPr lang="en-US" sz="2400" dirty="0"/>
              <a:t>PEM Joint Conferences</a:t>
            </a:r>
          </a:p>
          <a:p>
            <a:pPr lvl="1"/>
            <a:r>
              <a:rPr lang="en-US" sz="2400" dirty="0"/>
              <a:t>Critical Care Medicine</a:t>
            </a:r>
          </a:p>
          <a:p>
            <a:pPr lvl="1"/>
            <a:r>
              <a:rPr lang="en-US" sz="2400" dirty="0"/>
              <a:t>Hospital Medicine </a:t>
            </a:r>
          </a:p>
          <a:p>
            <a:pPr lvl="1"/>
            <a:r>
              <a:rPr lang="en-US" sz="2400" dirty="0"/>
              <a:t>CVICU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sz="quarter" idx="2"/>
          </p:nvPr>
        </p:nvSpPr>
        <p:spPr>
          <a:xfrm>
            <a:off x="5257800" y="1600200"/>
            <a:ext cx="3886200" cy="4572000"/>
          </a:xfrm>
        </p:spPr>
        <p:txBody>
          <a:bodyPr>
            <a:normAutofit/>
          </a:bodyPr>
          <a:lstStyle/>
          <a:p>
            <a:r>
              <a:rPr lang="en-US" sz="2400" dirty="0"/>
              <a:t>Plastic Surgery </a:t>
            </a:r>
          </a:p>
          <a:p>
            <a:r>
              <a:rPr lang="en-US" sz="2400" dirty="0"/>
              <a:t>Psychiatry</a:t>
            </a:r>
          </a:p>
          <a:p>
            <a:r>
              <a:rPr lang="en-US" sz="2400" dirty="0"/>
              <a:t>Quality</a:t>
            </a:r>
          </a:p>
          <a:p>
            <a:r>
              <a:rPr lang="en-US" sz="2400" dirty="0"/>
              <a:t>Radiology </a:t>
            </a:r>
          </a:p>
          <a:p>
            <a:r>
              <a:rPr lang="en-US" sz="2400" dirty="0"/>
              <a:t>Renal </a:t>
            </a:r>
          </a:p>
          <a:p>
            <a:r>
              <a:rPr lang="en-US" sz="2400" dirty="0"/>
              <a:t>Sports medicine </a:t>
            </a:r>
          </a:p>
          <a:p>
            <a:r>
              <a:rPr lang="en-US" sz="2400" dirty="0"/>
              <a:t>Surgical</a:t>
            </a:r>
          </a:p>
          <a:p>
            <a:r>
              <a:rPr lang="en-US" sz="2400" dirty="0"/>
              <a:t>Trauma</a:t>
            </a:r>
          </a:p>
          <a:p>
            <a:r>
              <a:rPr lang="en-US" sz="2400" dirty="0"/>
              <a:t>Toxicology </a:t>
            </a:r>
          </a:p>
          <a:p>
            <a:endParaRPr lang="en-US" sz="3600" dirty="0"/>
          </a:p>
          <a:p>
            <a:endParaRPr lang="en-US" dirty="0"/>
          </a:p>
        </p:txBody>
      </p:sp>
      <p:pic>
        <p:nvPicPr>
          <p:cNvPr id="5" name="Picture 4" descr="Crouse_Heather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839212" y="1905000"/>
            <a:ext cx="1066800" cy="11506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Content Placeholder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6196" y="2296106"/>
            <a:ext cx="830949" cy="10246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8" descr="Rubalcava_Daniel_M_127637_Pedi_Emerg_Med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934199" y="4267200"/>
            <a:ext cx="1015999" cy="1066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42588" y="1886877"/>
            <a:ext cx="965783" cy="118686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2278" y="2296106"/>
            <a:ext cx="798722" cy="1024623"/>
          </a:xfrm>
          <a:prstGeom prst="rect">
            <a:avLst/>
          </a:prstGeom>
          <a:effectLst>
            <a:softEdge rad="63500"/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4696425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562308" y="286915"/>
            <a:ext cx="8153400" cy="990600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PEM Domains of Interes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81000" y="1676400"/>
            <a:ext cx="6705600" cy="4525963"/>
          </a:xfrm>
        </p:spPr>
        <p:txBody>
          <a:bodyPr>
            <a:normAutofit/>
          </a:bodyPr>
          <a:lstStyle/>
          <a:p>
            <a:pPr lvl="0"/>
            <a:r>
              <a:rPr lang="en-US" sz="2600" dirty="0"/>
              <a:t>Information technology</a:t>
            </a:r>
          </a:p>
          <a:p>
            <a:pPr marL="0" lvl="0" indent="0">
              <a:buNone/>
            </a:pPr>
            <a:endParaRPr lang="en-US" sz="2600" dirty="0"/>
          </a:p>
          <a:p>
            <a:pPr lvl="0"/>
            <a:r>
              <a:rPr lang="en-US" sz="2600" dirty="0"/>
              <a:t>Disaster preparedness</a:t>
            </a:r>
          </a:p>
          <a:p>
            <a:pPr marL="0" lvl="0" indent="0">
              <a:buNone/>
            </a:pPr>
            <a:endParaRPr lang="en-US" sz="2600" dirty="0"/>
          </a:p>
          <a:p>
            <a:pPr lvl="0"/>
            <a:r>
              <a:rPr lang="en-US" sz="2600" dirty="0"/>
              <a:t>Observation medicine</a:t>
            </a:r>
          </a:p>
          <a:p>
            <a:pPr lvl="0"/>
            <a:endParaRPr lang="en-US" sz="2600" dirty="0"/>
          </a:p>
          <a:p>
            <a:pPr lvl="0"/>
            <a:r>
              <a:rPr lang="en-US" sz="2600" dirty="0"/>
              <a:t>Sedation and pain management</a:t>
            </a:r>
          </a:p>
          <a:p>
            <a:pPr lvl="0"/>
            <a:endParaRPr lang="en-US" sz="2600" dirty="0"/>
          </a:p>
          <a:p>
            <a:pPr marL="0" lvl="0" indent="0">
              <a:buNone/>
            </a:pPr>
            <a:r>
              <a:rPr lang="en-US" sz="2600" dirty="0"/>
              <a:t>  </a:t>
            </a:r>
          </a:p>
          <a:p>
            <a:endParaRPr lang="en-US" dirty="0"/>
          </a:p>
        </p:txBody>
      </p:sp>
      <p:pic>
        <p:nvPicPr>
          <p:cNvPr id="6" name="Picture 5" descr="Ojo_Aderonk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10808" y="3365715"/>
            <a:ext cx="914400" cy="137948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2656" y="3924301"/>
            <a:ext cx="910987" cy="13715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2842" y="2100263"/>
            <a:ext cx="932745" cy="14001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4475" y="2060017"/>
            <a:ext cx="933227" cy="14049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25208" y="1425848"/>
            <a:ext cx="1110673" cy="1359526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FE6B2B8-7480-4CCA-937C-0EDF34A8FC8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76241" y="2194421"/>
            <a:ext cx="967225" cy="117129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9"/>
          <a:srcRect l="3636" t="4157" r="61818" b="4389"/>
          <a:stretch/>
        </p:blipFill>
        <p:spPr>
          <a:xfrm>
            <a:off x="7004089" y="1495159"/>
            <a:ext cx="1127212" cy="1305192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6513073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814" y="297180"/>
            <a:ext cx="8153400" cy="9906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Edu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81000" y="1676400"/>
            <a:ext cx="6705600" cy="4525963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r>
              <a:rPr lang="en-US" sz="2600" dirty="0"/>
              <a:t>  </a:t>
            </a:r>
          </a:p>
          <a:p>
            <a:endParaRPr lang="en-US" dirty="0"/>
          </a:p>
        </p:txBody>
      </p:sp>
      <p:pic>
        <p:nvPicPr>
          <p:cNvPr id="10" name="Picture 9" descr="Professional picture 201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3400" y="2286000"/>
            <a:ext cx="1142999" cy="1447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Content Placeholder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76" y="4419600"/>
            <a:ext cx="966023" cy="1447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7406" y="3505200"/>
            <a:ext cx="961374" cy="1447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030" y="1528970"/>
            <a:ext cx="940602" cy="14809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7280" y="3193476"/>
            <a:ext cx="1075812" cy="1340558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5" name="TextBox 4"/>
          <p:cNvSpPr txBox="1"/>
          <p:nvPr/>
        </p:nvSpPr>
        <p:spPr>
          <a:xfrm>
            <a:off x="131814" y="3522702"/>
            <a:ext cx="21231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Simulation Director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90496" y="5794321"/>
            <a:ext cx="12057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PEM Chief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094976" y="4798814"/>
            <a:ext cx="21019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err="1"/>
              <a:t>Peds</a:t>
            </a:r>
            <a:r>
              <a:rPr lang="en-US" sz="1800" dirty="0"/>
              <a:t> Residency PD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03544" y="4953000"/>
            <a:ext cx="1025995" cy="118686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1" y="5099172"/>
            <a:ext cx="1020698" cy="13845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5" name="Content Placeholder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5702" y="2327810"/>
            <a:ext cx="905848" cy="136417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7708" y="1745676"/>
            <a:ext cx="961598" cy="1447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557" y="1483056"/>
            <a:ext cx="1165337" cy="17545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07268" y="5570220"/>
            <a:ext cx="965783" cy="1186865"/>
          </a:xfrm>
          <a:prstGeom prst="rect">
            <a:avLst/>
          </a:prstGeom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207" y="5279011"/>
            <a:ext cx="990600" cy="147807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709914" y="2810804"/>
            <a:ext cx="1046751" cy="157371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646324" y="3408030"/>
            <a:ext cx="1360422" cy="154497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137125273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PEM Domains of Interest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"/>
          </p:nvPr>
        </p:nvSpPr>
        <p:spPr>
          <a:xfrm>
            <a:off x="608720" y="1526502"/>
            <a:ext cx="8153400" cy="4495800"/>
          </a:xfrm>
        </p:spPr>
        <p:txBody>
          <a:bodyPr>
            <a:normAutofit/>
          </a:bodyPr>
          <a:lstStyle/>
          <a:p>
            <a:r>
              <a:rPr lang="en-US" dirty="0"/>
              <a:t>Airway</a:t>
            </a:r>
          </a:p>
          <a:p>
            <a:endParaRPr lang="en-US" dirty="0"/>
          </a:p>
          <a:p>
            <a:pPr lvl="0">
              <a:buClr>
                <a:srgbClr val="6A1232"/>
              </a:buClr>
            </a:pPr>
            <a:r>
              <a:rPr lang="en-US" sz="2800" dirty="0">
                <a:solidFill>
                  <a:prstClr val="black"/>
                </a:solidFill>
              </a:rPr>
              <a:t>Customer Service and Communication</a:t>
            </a:r>
          </a:p>
          <a:p>
            <a:pPr lvl="0">
              <a:buClr>
                <a:srgbClr val="6A1232"/>
              </a:buClr>
            </a:pPr>
            <a:endParaRPr lang="en-US" sz="2800" dirty="0">
              <a:solidFill>
                <a:prstClr val="black"/>
              </a:solidFill>
            </a:endParaRPr>
          </a:p>
          <a:p>
            <a:pPr lvl="0">
              <a:buClr>
                <a:srgbClr val="6A1232"/>
              </a:buClr>
            </a:pPr>
            <a:r>
              <a:rPr lang="en-US" sz="2800" dirty="0">
                <a:solidFill>
                  <a:prstClr val="black"/>
                </a:solidFill>
              </a:rPr>
              <a:t>Advocacy</a:t>
            </a:r>
          </a:p>
          <a:p>
            <a:endParaRPr lang="en-US" dirty="0"/>
          </a:p>
          <a:p>
            <a:r>
              <a:rPr lang="en-US" dirty="0"/>
              <a:t>EMS</a:t>
            </a:r>
          </a:p>
          <a:p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0800" y="1336304"/>
            <a:ext cx="1127712" cy="140964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7400" y="4905865"/>
            <a:ext cx="1222355" cy="1836249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49296" y="4923282"/>
            <a:ext cx="1286367" cy="1725318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2800" y="2071299"/>
            <a:ext cx="1077994" cy="151076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43200" y="3342514"/>
            <a:ext cx="1409700" cy="1409700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9FC574D-5D3E-4962-A611-53FE57377013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4419600" y="3342514"/>
            <a:ext cx="1508760" cy="1442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7747B82-7538-483F-B6D3-AB4136FC723E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4728435" y="4923282"/>
            <a:ext cx="1286367" cy="170611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2" descr="Image preview">
            <a:extLst>
              <a:ext uri="{FF2B5EF4-FFF2-40B4-BE49-F238E27FC236}">
                <a16:creationId xmlns:a16="http://schemas.microsoft.com/office/drawing/2014/main" id="{56D3A930-15DF-4AF1-9A52-A9631DBF66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351" y="3342513"/>
            <a:ext cx="1240634" cy="14954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013904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685800" y="331023"/>
            <a:ext cx="8153400" cy="9906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PEM Domains of Intere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Asthma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Diversity</a:t>
            </a:r>
          </a:p>
          <a:p>
            <a:endParaRPr lang="en-US" dirty="0"/>
          </a:p>
          <a:p>
            <a:r>
              <a:rPr lang="en-US" dirty="0"/>
              <a:t>Bronchiolitis</a:t>
            </a:r>
          </a:p>
          <a:p>
            <a:endParaRPr lang="en-US" dirty="0"/>
          </a:p>
          <a:p>
            <a:r>
              <a:rPr lang="en-US" dirty="0"/>
              <a:t>Ultrasound (Team Grayscale)</a:t>
            </a:r>
          </a:p>
          <a:p>
            <a:endParaRPr lang="en-US" dirty="0"/>
          </a:p>
          <a:p>
            <a:r>
              <a:rPr lang="en-US" dirty="0"/>
              <a:t>Handoffs, Technology 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0" y="1321623"/>
            <a:ext cx="1104900" cy="1648621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t="21114"/>
          <a:stretch/>
        </p:blipFill>
        <p:spPr>
          <a:xfrm>
            <a:off x="3028950" y="2990759"/>
            <a:ext cx="1301094" cy="156670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2200" y="3566157"/>
            <a:ext cx="2473736" cy="1911732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1540" y="5257800"/>
            <a:ext cx="1091298" cy="14809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AutoShape 2" descr="Asha Morrow, MD | Texas Children's Hospital"/>
          <p:cNvSpPr>
            <a:spLocks noChangeAspect="1" noChangeArrowheads="1"/>
          </p:cNvSpPr>
          <p:nvPr/>
        </p:nvSpPr>
        <p:spPr bwMode="auto">
          <a:xfrm>
            <a:off x="63500" y="-136525"/>
            <a:ext cx="2000250" cy="200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04704" y="2120930"/>
            <a:ext cx="1601790" cy="1601790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24362958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001" y="278490"/>
            <a:ext cx="8153400" cy="99060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Global Health</a:t>
            </a:r>
          </a:p>
        </p:txBody>
      </p:sp>
      <p:pic>
        <p:nvPicPr>
          <p:cNvPr id="4" name="Picture 3" descr="Crouse_Heather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381822" y="1669868"/>
            <a:ext cx="1371600" cy="16764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l="56845" t="3034"/>
          <a:stretch/>
        </p:blipFill>
        <p:spPr>
          <a:xfrm>
            <a:off x="4519126" y="3634712"/>
            <a:ext cx="1487664" cy="1508415"/>
          </a:xfrm>
          <a:prstGeom prst="rect">
            <a:avLst/>
          </a:prstGeom>
        </p:spPr>
      </p:pic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011744874"/>
              </p:ext>
            </p:extLst>
          </p:nvPr>
        </p:nvGraphicFramePr>
        <p:xfrm>
          <a:off x="2532424" y="76200"/>
          <a:ext cx="10820400" cy="548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31792" y="1480731"/>
            <a:ext cx="1518036" cy="18655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5800" y="3611615"/>
            <a:ext cx="1372827" cy="150841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5168" y="1669868"/>
            <a:ext cx="1301767" cy="168293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095" y="5104208"/>
            <a:ext cx="2049796" cy="1718340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28674" name="Picture 2" descr="Image result for sue torrey">
            <a:extLst>
              <a:ext uri="{FF2B5EF4-FFF2-40B4-BE49-F238E27FC236}">
                <a16:creationId xmlns:a16="http://schemas.microsoft.com/office/drawing/2014/main" id="{A709A876-B84C-4F33-9AF7-916CE641B8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577" y="3387765"/>
            <a:ext cx="1432831" cy="1763068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28668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708733566"/>
              </p:ext>
            </p:extLst>
          </p:nvPr>
        </p:nvGraphicFramePr>
        <p:xfrm>
          <a:off x="1316255" y="70688"/>
          <a:ext cx="7200900" cy="15121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angle 5"/>
          <p:cNvSpPr txBox="1">
            <a:spLocks noChangeArrowheads="1"/>
          </p:cNvSpPr>
          <p:nvPr/>
        </p:nvSpPr>
        <p:spPr bwMode="auto">
          <a:xfrm>
            <a:off x="555520" y="4827838"/>
            <a:ext cx="2746547" cy="599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200" b="1" kern="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br>
              <a:rPr lang="en-US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</a:br>
            <a:endParaRPr lang="en-US" sz="1200" kern="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200" kern="0" dirty="0">
              <a:latin typeface="+mn-lt"/>
            </a:endParaRPr>
          </a:p>
        </p:txBody>
      </p:sp>
      <p:sp>
        <p:nvSpPr>
          <p:cNvPr id="11" name="Rectangle 8"/>
          <p:cNvSpPr txBox="1">
            <a:spLocks noChangeArrowheads="1"/>
          </p:cNvSpPr>
          <p:nvPr/>
        </p:nvSpPr>
        <p:spPr bwMode="auto">
          <a:xfrm>
            <a:off x="3365084" y="4740763"/>
            <a:ext cx="2664156" cy="630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Marideth Rus, MD, MEd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PEM- GH Combined Fellowship Director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 Associate Program Director</a:t>
            </a:r>
            <a:endParaRPr lang="en-US" sz="1200" kern="0" dirty="0">
              <a:latin typeface="+mn-lt"/>
            </a:endParaRPr>
          </a:p>
        </p:txBody>
      </p:sp>
      <p:sp>
        <p:nvSpPr>
          <p:cNvPr id="12" name="Rectangle 8"/>
          <p:cNvSpPr txBox="1">
            <a:spLocks noChangeArrowheads="1"/>
          </p:cNvSpPr>
          <p:nvPr/>
        </p:nvSpPr>
        <p:spPr bwMode="auto">
          <a:xfrm>
            <a:off x="234150" y="4740763"/>
            <a:ext cx="2895601" cy="630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Kim Little-Wienert, MD, MEd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Program Director</a:t>
            </a:r>
            <a:endParaRPr lang="en-US" sz="1200" kern="0" dirty="0"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3" t="10407" r="25301" b="91"/>
          <a:stretch/>
        </p:blipFill>
        <p:spPr>
          <a:xfrm>
            <a:off x="3625192" y="2154053"/>
            <a:ext cx="1893615" cy="2393206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0" name="Picture 9" descr="A person smiling at the camera&#10;&#10;Description automatically generated with medium confidence">
            <a:extLst>
              <a:ext uri="{FF2B5EF4-FFF2-40B4-BE49-F238E27FC236}">
                <a16:creationId xmlns:a16="http://schemas.microsoft.com/office/drawing/2014/main" id="{F100A174-59BB-C649-928F-868D4AED2AB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36" y="2108972"/>
            <a:ext cx="1950630" cy="243828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Picture 12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81D9A6A1-1004-3841-A278-2E57DA26179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34" r="16667"/>
          <a:stretch/>
        </p:blipFill>
        <p:spPr>
          <a:xfrm>
            <a:off x="6486733" y="2154053"/>
            <a:ext cx="2064140" cy="239320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D281F2A-6630-424B-A3F8-A733212A4E65}"/>
              </a:ext>
            </a:extLst>
          </p:cNvPr>
          <p:cNvSpPr txBox="1"/>
          <p:nvPr/>
        </p:nvSpPr>
        <p:spPr>
          <a:xfrm>
            <a:off x="6453015" y="4740763"/>
            <a:ext cx="2064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Tw Cen MT" panose="020B0602020104020603" pitchFamily="34" charset="77"/>
              </a:rPr>
              <a:t>Elizabeth Moran, MD, MEd</a:t>
            </a:r>
          </a:p>
          <a:p>
            <a:pPr algn="ctr"/>
            <a:r>
              <a:rPr lang="en-US" sz="1200" b="1" dirty="0">
                <a:latin typeface="Tw Cen MT" panose="020B0602020104020603" pitchFamily="34" charset="77"/>
              </a:rPr>
              <a:t>Assistant Program Director</a:t>
            </a:r>
          </a:p>
        </p:txBody>
      </p:sp>
    </p:spTree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200" y="91440"/>
            <a:ext cx="7226300" cy="1143000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PEM Point-of Care Ultrasound 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313" y="526232"/>
            <a:ext cx="1778000" cy="26765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2" name="Content Placeholder 1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1487334588"/>
              </p:ext>
            </p:extLst>
          </p:nvPr>
        </p:nvGraphicFramePr>
        <p:xfrm>
          <a:off x="224989" y="1524000"/>
          <a:ext cx="4241800" cy="50915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324600" y="3200400"/>
            <a:ext cx="3124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Dr. Kiyetta Alade, </a:t>
            </a:r>
          </a:p>
          <a:p>
            <a:pPr algn="ctr"/>
            <a:r>
              <a:rPr lang="en-US" sz="1400" dirty="0"/>
              <a:t>Director PEM POCU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52921" y="3962400"/>
            <a:ext cx="1897205" cy="2154570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3" name="TextBox 2"/>
          <p:cNvSpPr txBox="1"/>
          <p:nvPr/>
        </p:nvSpPr>
        <p:spPr>
          <a:xfrm>
            <a:off x="6931843" y="6094140"/>
            <a:ext cx="22913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Dr. Stephanie Leung</a:t>
            </a:r>
          </a:p>
          <a:p>
            <a:pPr algn="ctr"/>
            <a:r>
              <a:rPr lang="en-US" sz="1400" dirty="0"/>
              <a:t>POCUS Fellowship Director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07787" y="1854577"/>
            <a:ext cx="1616813" cy="20622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447540" y="4524465"/>
            <a:ext cx="2667000" cy="1826617"/>
          </a:xfrm>
          <a:prstGeom prst="rect">
            <a:avLst/>
          </a:prstGeom>
          <a:effectLst>
            <a:softEdge rad="63500"/>
          </a:effectLst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209800" y="381000"/>
            <a:ext cx="9067800" cy="990600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OCUS Trai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676400"/>
            <a:ext cx="8991600" cy="4495800"/>
          </a:xfr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CUS training required for PEM fellow graduation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) 150 scans by fellowship completion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2) 10 proctored scans with ultrasound faculty</a:t>
            </a:r>
          </a:p>
          <a:p>
            <a:pPr marL="457200" lvl="1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CUS training completion by March of 2</a:t>
            </a:r>
            <a:r>
              <a:rPr lang="en-US" baseline="30000" dirty="0">
                <a:latin typeface="Arial" panose="020B0604020202020204" pitchFamily="34" charset="0"/>
                <a:cs typeface="Arial" panose="020B0604020202020204" pitchFamily="34" charset="0"/>
              </a:rPr>
              <a:t>n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year allows for ultrasound privileges as 3</a:t>
            </a:r>
            <a:r>
              <a:rPr lang="en-US" baseline="30000" dirty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year “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retending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923759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347499"/>
            <a:ext cx="8153400" cy="869950"/>
          </a:xfrm>
        </p:spPr>
        <p:txBody>
          <a:bodyPr/>
          <a:lstStyle/>
          <a:p>
            <a:r>
              <a:rPr lang="en-US" dirty="0"/>
              <a:t>PEM simulatio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304800" y="2438400"/>
            <a:ext cx="4572000" cy="4114800"/>
          </a:xfrm>
        </p:spPr>
        <p:txBody>
          <a:bodyPr>
            <a:normAutofit fontScale="62500" lnSpcReduction="20000"/>
          </a:bodyPr>
          <a:lstStyle/>
          <a:p>
            <a:r>
              <a:rPr lang="en-US" sz="4500" dirty="0"/>
              <a:t>PEM fellows simulation days</a:t>
            </a:r>
            <a:endParaRPr lang="en-US" sz="4200" dirty="0"/>
          </a:p>
          <a:p>
            <a:r>
              <a:rPr lang="en-US" sz="4200" dirty="0"/>
              <a:t>RCDP for first years</a:t>
            </a:r>
          </a:p>
          <a:p>
            <a:r>
              <a:rPr lang="en-US" sz="4500" dirty="0"/>
              <a:t>EC in-situ simulation</a:t>
            </a:r>
          </a:p>
          <a:p>
            <a:pPr lvl="1"/>
            <a:r>
              <a:rPr lang="en-US" sz="3500" dirty="0"/>
              <a:t>Full teams, 4/month, unannounced</a:t>
            </a:r>
          </a:p>
          <a:p>
            <a:r>
              <a:rPr lang="en-US" sz="4500" dirty="0"/>
              <a:t>Procedural teaching</a:t>
            </a:r>
          </a:p>
          <a:p>
            <a:pPr lvl="1"/>
            <a:r>
              <a:rPr lang="en-US" sz="3500" dirty="0"/>
              <a:t>Central lines</a:t>
            </a:r>
          </a:p>
          <a:p>
            <a:pPr lvl="1"/>
            <a:r>
              <a:rPr lang="en-US" sz="3500" dirty="0"/>
              <a:t>Chest tubes</a:t>
            </a:r>
          </a:p>
          <a:p>
            <a:r>
              <a:rPr lang="en-US" sz="4600" dirty="0"/>
              <a:t>SCOPE</a:t>
            </a:r>
          </a:p>
          <a:p>
            <a:pPr lvl="1"/>
            <a:r>
              <a:rPr lang="en-US" sz="3500" dirty="0"/>
              <a:t>July</a:t>
            </a:r>
          </a:p>
          <a:p>
            <a:pPr lvl="1"/>
            <a:endParaRPr lang="en-US" sz="350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4114800" cy="4343400"/>
          </a:xfrm>
        </p:spPr>
        <p:txBody>
          <a:bodyPr>
            <a:normAutofit fontScale="62500" lnSpcReduction="20000"/>
          </a:bodyPr>
          <a:lstStyle/>
          <a:p>
            <a:r>
              <a:rPr lang="en-US" sz="3800" dirty="0"/>
              <a:t>Resident and nursing resuscitation/ PALS training</a:t>
            </a:r>
          </a:p>
          <a:p>
            <a:pPr lvl="1"/>
            <a:r>
              <a:rPr lang="en-US" dirty="0"/>
              <a:t>Thursdays after conferences</a:t>
            </a:r>
          </a:p>
          <a:p>
            <a:r>
              <a:rPr lang="en-US" sz="3800" dirty="0"/>
              <a:t>Trauma simulations for first years</a:t>
            </a:r>
          </a:p>
          <a:p>
            <a:r>
              <a:rPr lang="en-US" sz="3600" dirty="0"/>
              <a:t>Medical students</a:t>
            </a:r>
          </a:p>
          <a:p>
            <a:pPr lvl="1"/>
            <a:r>
              <a:rPr lang="en-US" dirty="0"/>
              <a:t>During core rotation, </a:t>
            </a:r>
            <a:r>
              <a:rPr lang="en-US" dirty="0" err="1"/>
              <a:t>sim</a:t>
            </a:r>
            <a:r>
              <a:rPr lang="en-US" dirty="0"/>
              <a:t> for procedural training </a:t>
            </a:r>
          </a:p>
          <a:p>
            <a:r>
              <a:rPr lang="en-US" sz="3600" dirty="0"/>
              <a:t>Pre hospital training</a:t>
            </a:r>
          </a:p>
          <a:p>
            <a:pPr lvl="1"/>
            <a:r>
              <a:rPr lang="en-US" dirty="0"/>
              <a:t>Pediatric resuscitation for HFD providers, twice monthly for 2 years, trained over 1200 providers</a:t>
            </a:r>
          </a:p>
          <a:p>
            <a:r>
              <a:rPr lang="en-US" sz="3600" dirty="0"/>
              <a:t>Global Health</a:t>
            </a:r>
          </a:p>
          <a:p>
            <a:pPr lvl="1">
              <a:spcBef>
                <a:spcPts val="0"/>
              </a:spcBef>
            </a:pPr>
            <a:r>
              <a:rPr lang="en-US" dirty="0"/>
              <a:t>Pre-departure training for residents </a:t>
            </a:r>
          </a:p>
          <a:p>
            <a:pPr marL="365760" lvl="1" indent="0">
              <a:spcBef>
                <a:spcPts val="0"/>
              </a:spcBef>
              <a:buNone/>
            </a:pPr>
            <a:r>
              <a:rPr lang="en-US" dirty="0"/>
              <a:t>      and BIPAI physicians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"/>
          </p:nvPr>
        </p:nvSpPr>
        <p:spPr>
          <a:xfrm>
            <a:off x="381000" y="1752600"/>
            <a:ext cx="4303340" cy="640080"/>
          </a:xfrm>
        </p:spPr>
        <p:txBody>
          <a:bodyPr/>
          <a:lstStyle/>
          <a:p>
            <a:r>
              <a:rPr lang="en-US" dirty="0"/>
              <a:t>Involving all fellows: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>
          <a:xfrm>
            <a:off x="4876800" y="1751408"/>
            <a:ext cx="3886200" cy="640080"/>
          </a:xfrm>
        </p:spPr>
        <p:txBody>
          <a:bodyPr/>
          <a:lstStyle/>
          <a:p>
            <a:r>
              <a:rPr lang="en-US" dirty="0"/>
              <a:t>Good to know about: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3676" y="162220"/>
            <a:ext cx="1143000" cy="17209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9337" y="142803"/>
            <a:ext cx="1141975" cy="17209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98221" y="4735894"/>
            <a:ext cx="1399179" cy="1864738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44939" y="154503"/>
            <a:ext cx="1113061" cy="166460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58000" y="142803"/>
            <a:ext cx="1127332" cy="1531581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052FC8A-D804-473D-93B0-6E4E22661E5D}"/>
              </a:ext>
            </a:extLst>
          </p:cNvPr>
          <p:cNvPicPr/>
          <p:nvPr/>
        </p:nvPicPr>
        <p:blipFill rotWithShape="1">
          <a:blip r:embed="rId9"/>
          <a:srcRect l="15608" t="-257" r="20159" b="3920"/>
          <a:stretch/>
        </p:blipFill>
        <p:spPr>
          <a:xfrm>
            <a:off x="8016667" y="212892"/>
            <a:ext cx="1081725" cy="15150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554438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M outreach and servic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1" y="1600200"/>
            <a:ext cx="2537261" cy="1752600"/>
          </a:xfrm>
          <a:prstGeom prst="rect">
            <a:avLst/>
          </a:prstGeom>
        </p:spPr>
      </p:pic>
      <p:pic>
        <p:nvPicPr>
          <p:cNvPr id="3" name="Picture 2" descr="TCH-Main-Campus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401" y="1295400"/>
            <a:ext cx="3084593" cy="2057400"/>
          </a:xfrm>
          <a:prstGeom prst="rect">
            <a:avLst/>
          </a:prstGeom>
        </p:spPr>
      </p:pic>
      <p:pic>
        <p:nvPicPr>
          <p:cNvPr id="7" name="Picture 6" descr="TCHWCECUC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1600200"/>
            <a:ext cx="2630330" cy="1752600"/>
          </a:xfrm>
          <a:prstGeom prst="rect">
            <a:avLst/>
          </a:prstGeom>
        </p:spPr>
      </p:pic>
      <p:pic>
        <p:nvPicPr>
          <p:cNvPr id="8" name="Picture 7" descr="BCM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1915" y="3341003"/>
            <a:ext cx="4563836" cy="1981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99580" y="5783405"/>
            <a:ext cx="2978719" cy="105131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6324" y="2994001"/>
            <a:ext cx="1706041" cy="153543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03186" y="4992584"/>
            <a:ext cx="2424078" cy="93633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90189" y="4529437"/>
            <a:ext cx="1724076" cy="137164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7133" y="5559622"/>
            <a:ext cx="2137186" cy="12192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1"/>
          <a:srcRect l="21837" t="3964" r="19155" b="13171"/>
          <a:stretch/>
        </p:blipFill>
        <p:spPr>
          <a:xfrm>
            <a:off x="99667" y="4453368"/>
            <a:ext cx="1625600" cy="133003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05566" y="3029473"/>
            <a:ext cx="1322947" cy="165215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835030" y="3551026"/>
            <a:ext cx="1571625" cy="105727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084855" y="4670003"/>
            <a:ext cx="981075" cy="9906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540635" y="3984994"/>
            <a:ext cx="2931111" cy="62764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970663" y="3189031"/>
            <a:ext cx="2042378" cy="62012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012108" y="4953028"/>
            <a:ext cx="2030562" cy="68734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657725" y="1068654"/>
            <a:ext cx="1914525" cy="96202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742947" y="1023210"/>
            <a:ext cx="2190750" cy="7143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490420" y="4616982"/>
            <a:ext cx="1958449" cy="71783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9530" y="987112"/>
            <a:ext cx="1302655" cy="97107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401054" y="1035964"/>
            <a:ext cx="1371719" cy="95715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620842" y="6004939"/>
            <a:ext cx="2706859" cy="77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40586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PEM Research 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4294967295"/>
          </p:nvPr>
        </p:nvSpPr>
        <p:spPr>
          <a:xfrm>
            <a:off x="228600" y="1828800"/>
            <a:ext cx="4267200" cy="4572000"/>
          </a:xfrm>
        </p:spPr>
        <p:txBody>
          <a:bodyPr/>
          <a:lstStyle/>
          <a:p>
            <a:pPr>
              <a:buNone/>
            </a:pPr>
            <a:endParaRPr lang="en-US" sz="3200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290" y="2404872"/>
            <a:ext cx="1371600" cy="20651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5787" y="2439052"/>
            <a:ext cx="1363069" cy="20522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44721" y="2523024"/>
            <a:ext cx="1218279" cy="18288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 descr="Rubalcava_Daniel_M_127637_Pedi_Emerg_Med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995239" y="4411108"/>
            <a:ext cx="1251857" cy="1828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Picture 13" descr="Shenoi_Rohit_134130_pedi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623356" y="4411108"/>
            <a:ext cx="1206500" cy="1828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5842" name="Picture 2" descr="http://www.texaschildrens.org/uploadedImages/Pages/Locate/Doctors/Cruz.Andrea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78986" y="2506108"/>
            <a:ext cx="1336221" cy="1905000"/>
          </a:xfrm>
          <a:prstGeom prst="rect">
            <a:avLst/>
          </a:prstGeom>
          <a:noFill/>
          <a:effectLst>
            <a:softEdge rad="63500"/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9"/>
          <a:srcRect t="21114"/>
          <a:stretch/>
        </p:blipFill>
        <p:spPr>
          <a:xfrm>
            <a:off x="5706188" y="2600683"/>
            <a:ext cx="1451207" cy="181042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373"/>
          <a:stretch/>
        </p:blipFill>
        <p:spPr>
          <a:xfrm>
            <a:off x="5117082" y="4469977"/>
            <a:ext cx="1384706" cy="1748595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4" name="AutoShape 2" descr="Image result for bcm Dr David Ashby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69034" y="4491313"/>
            <a:ext cx="1320344" cy="1748595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63388178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 noGrp="1" noChangeArrowheads="1"/>
          </p:cNvSpPr>
          <p:nvPr>
            <p:ph type="title"/>
          </p:nvPr>
        </p:nvSpPr>
        <p:spPr>
          <a:xfrm>
            <a:off x="-1295400" y="304800"/>
            <a:ext cx="6705600" cy="1143000"/>
          </a:xfrm>
        </p:spPr>
        <p:txBody>
          <a:bodyPr/>
          <a:lstStyle/>
          <a:p>
            <a:pPr algn="ctr"/>
            <a:r>
              <a:rPr lang="en-US" dirty="0"/>
              <a:t>Scholarship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26701695"/>
              </p:ext>
            </p:extLst>
          </p:nvPr>
        </p:nvGraphicFramePr>
        <p:xfrm>
          <a:off x="533400" y="1600200"/>
          <a:ext cx="8305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296302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990600" y="228600"/>
            <a:ext cx="8153400" cy="990600"/>
          </a:xfrm>
        </p:spPr>
        <p:txBody>
          <a:bodyPr/>
          <a:lstStyle/>
          <a:p>
            <a:r>
              <a:rPr lang="en-US" dirty="0"/>
              <a:t>N </a:t>
            </a:r>
            <a:r>
              <a:rPr lang="en-US" dirty="0">
                <a:solidFill>
                  <a:schemeClr val="bg1"/>
                </a:solidFill>
              </a:rPr>
              <a:t>National presentation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790" y="5252222"/>
            <a:ext cx="2190655" cy="1642991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86" y="3422250"/>
            <a:ext cx="2486027" cy="1867016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4677" y="2013909"/>
            <a:ext cx="3327780" cy="49761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14300"/>
            <a:ext cx="1213104" cy="1219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00" y="5935277"/>
            <a:ext cx="998682" cy="76923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4698" y="-97832"/>
            <a:ext cx="3074145" cy="205103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097" y="18676"/>
            <a:ext cx="2493279" cy="1818016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66" y="1447800"/>
            <a:ext cx="2372504" cy="177937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2046616"/>
            <a:ext cx="1993247" cy="184790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37301" y="4038600"/>
            <a:ext cx="2341067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28150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:\Users\emsampay\AppData\Local\Microsoft\Windows\Temporary Internet Files\Content.Outlook\CJM6B0AO\FullSizeRender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726" y="2667000"/>
            <a:ext cx="3226274" cy="4371328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Content Placeholder 6"/>
          <p:cNvPicPr>
            <a:picLocks noGrp="1"/>
          </p:cNvPicPr>
          <p:nvPr>
            <p:ph sz="quarter" idx="2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" b="45654"/>
          <a:stretch/>
        </p:blipFill>
        <p:spPr bwMode="auto">
          <a:xfrm>
            <a:off x="228600" y="132404"/>
            <a:ext cx="3886200" cy="2651620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Content Placeholder 7" descr="C:\Users\emsampay\AppData\Local\Microsoft\Windows\Temporary Internet Files\Content.Outlook\CJM6B0AO\image1.PNG"/>
          <p:cNvPicPr>
            <a:picLocks noGrp="1"/>
          </p:cNvPicPr>
          <p:nvPr>
            <p:ph sz="quarter" idx="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56" t="23000" b="13125"/>
          <a:stretch/>
        </p:blipFill>
        <p:spPr bwMode="auto">
          <a:xfrm>
            <a:off x="57911" y="2667000"/>
            <a:ext cx="2640238" cy="4371328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 descr="C:\Users\emsampay\AppData\Local\Microsoft\Windows\Temporary Internet Files\Content.Outlook\CJM6B0AO\Nichole and Alicia HRIC.JPG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9074" y="2667000"/>
            <a:ext cx="3061062" cy="4392105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</p:spPr>
      </p:pic>
      <p:sp>
        <p:nvSpPr>
          <p:cNvPr id="10" name="TextBox 9"/>
          <p:cNvSpPr txBox="1"/>
          <p:nvPr/>
        </p:nvSpPr>
        <p:spPr>
          <a:xfrm>
            <a:off x="2733709" y="3113968"/>
            <a:ext cx="27810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2018 Harvard Humanitarian Response Intensive Course</a:t>
            </a:r>
            <a:endParaRPr lang="en-US" sz="1000" dirty="0"/>
          </a:p>
        </p:txBody>
      </p:sp>
      <p:sp>
        <p:nvSpPr>
          <p:cNvPr id="11" name="Rectangle 10"/>
          <p:cNvSpPr/>
          <p:nvPr/>
        </p:nvSpPr>
        <p:spPr>
          <a:xfrm>
            <a:off x="6248400" y="4539947"/>
            <a:ext cx="4572000" cy="58144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17 American Academy of Pediatrics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rst place </a:t>
            </a:r>
            <a:r>
              <a:rPr lang="en-US" sz="1200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diSonoFest</a:t>
            </a: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Competition</a:t>
            </a:r>
            <a:endParaRPr lang="en-US" sz="1200" b="1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80890" y="2721114"/>
            <a:ext cx="17385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Fellows National Conference 2018 </a:t>
            </a:r>
          </a:p>
          <a:p>
            <a:pPr algn="ctr"/>
            <a:r>
              <a:rPr lang="en-US" sz="1000" b="1" dirty="0"/>
              <a:t>Advocacy on Capitol Hill </a:t>
            </a:r>
          </a:p>
          <a:p>
            <a:pPr algn="ctr"/>
            <a:r>
              <a:rPr lang="en-US" sz="1000" b="1" dirty="0"/>
              <a:t>EMS for children</a:t>
            </a:r>
          </a:p>
        </p:txBody>
      </p:sp>
      <p:pic>
        <p:nvPicPr>
          <p:cNvPr id="12" name="Picture 11" descr="C:\Users\emsampay\AppData\Local\Microsoft\Windows\Temporary Internet Files\Content.Word\IMG_20181104_125600.jpg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38" t="22116" r="5513" b="2771"/>
          <a:stretch/>
        </p:blipFill>
        <p:spPr bwMode="auto">
          <a:xfrm>
            <a:off x="4808856" y="161274"/>
            <a:ext cx="3448896" cy="2505726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461802" y="2152198"/>
            <a:ext cx="16786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AAP 2018</a:t>
            </a:r>
          </a:p>
        </p:txBody>
      </p:sp>
    </p:spTree>
    <p:extLst>
      <p:ext uri="{BB962C8B-B14F-4D97-AF65-F5344CB8AC3E}">
        <p14:creationId xmlns:p14="http://schemas.microsoft.com/office/powerpoint/2010/main" val="221726772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794CF3D-8B3F-4532-8D46-B2C5FACFA78C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7160" y="3120653"/>
            <a:ext cx="3048000" cy="3491975"/>
          </a:xfrm>
          <a:prstGeom prst="rect">
            <a:avLst/>
          </a:prstGeom>
          <a:noFill/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EDC1F8A-2D6C-4FE7-A033-AB8D4267A40B}"/>
              </a:ext>
            </a:extLst>
          </p:cNvPr>
          <p:cNvSpPr txBox="1"/>
          <p:nvPr/>
        </p:nvSpPr>
        <p:spPr>
          <a:xfrm>
            <a:off x="-117746" y="3120653"/>
            <a:ext cx="625042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Texas Pediatric Society E-Poster Contest Winners 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Bryan Greenfield and Abhay Kulkarni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FIRST PLACE for your poster in the Evidence Based Medicine/QI category: 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#60minutes: Improving Timeliness of Antibiotic Delivery to Patients with Febrile Neutropenia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42B10DC-71A2-4CD3-BC79-D0F01EE01486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3439536"/>
            <a:ext cx="2971800" cy="318833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C3445F2-7D29-40E6-9420-5A89CD01B348}"/>
              </a:ext>
            </a:extLst>
          </p:cNvPr>
          <p:cNvSpPr/>
          <p:nvPr/>
        </p:nvSpPr>
        <p:spPr>
          <a:xfrm>
            <a:off x="5181600" y="5585331"/>
            <a:ext cx="4572000" cy="65146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1000"/>
              </a:spcAft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Justin Moher</a:t>
            </a:r>
          </a:p>
          <a:p>
            <a:pPr marL="0" marR="0" algn="ctr">
              <a:spcBef>
                <a:spcPts val="0"/>
              </a:spcBef>
              <a:spcAft>
                <a:spcPts val="1000"/>
              </a:spcAft>
            </a:pP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</a:rPr>
              <a:t>Best Trainee Abstract SOICH AAP, 2019</a:t>
            </a:r>
            <a:endParaRPr lang="en-US" sz="1400" b="1" dirty="0">
              <a:solidFill>
                <a:schemeClr val="bg1"/>
              </a:solidFill>
              <a:effectLst/>
              <a:latin typeface="Calibri" panose="020F0502020204030204" pitchFamily="34" charset="0"/>
              <a:ea typeface="MS Mincho" panose="02020609040205080304" pitchFamily="49" charset="-128"/>
              <a:cs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487661-DE4D-4D1F-9F8E-2AEC1FC2997A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205" y="503446"/>
            <a:ext cx="3276600" cy="24574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19A2F7-BAE2-4BC7-A15E-7924400568FB}"/>
              </a:ext>
            </a:extLst>
          </p:cNvPr>
          <p:cNvSpPr txBox="1"/>
          <p:nvPr/>
        </p:nvSpPr>
        <p:spPr>
          <a:xfrm>
            <a:off x="-117746" y="32261"/>
            <a:ext cx="547297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bg1"/>
                </a:solidFill>
              </a:rPr>
              <a:t>Micheal</a:t>
            </a:r>
            <a:r>
              <a:rPr lang="en-US" sz="900" b="1" dirty="0">
                <a:solidFill>
                  <a:schemeClr val="bg1"/>
                </a:solidFill>
              </a:rPr>
              <a:t> Arroyo: </a:t>
            </a:r>
          </a:p>
          <a:p>
            <a:pPr algn="ctr"/>
            <a:r>
              <a:rPr lang="en-US" sz="900" b="1" dirty="0">
                <a:solidFill>
                  <a:schemeClr val="bg1"/>
                </a:solidFill>
              </a:rPr>
              <a:t>Best original research award and platform presentation at the Injury Free Coalition for Kids Conference,  December, 2019, Ft. Lauderdale, Florid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5A744B-0784-4E87-A49A-645F54AD347F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2140" y="909583"/>
            <a:ext cx="2072640" cy="2390140"/>
          </a:xfrm>
          <a:prstGeom prst="rect">
            <a:avLst/>
          </a:prstGeom>
          <a:noFill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0B57843-6EE4-4B0B-9FAB-859C01FE1FA1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4780" y="903556"/>
            <a:ext cx="2649220" cy="2396167"/>
          </a:xfrm>
          <a:prstGeom prst="rect">
            <a:avLst/>
          </a:prstGeom>
          <a:noFill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B02AE22-7B81-449A-A4B8-EBF50F14EA66}"/>
              </a:ext>
            </a:extLst>
          </p:cNvPr>
          <p:cNvSpPr txBox="1"/>
          <p:nvPr/>
        </p:nvSpPr>
        <p:spPr>
          <a:xfrm>
            <a:off x="4031255" y="524783"/>
            <a:ext cx="52501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</a:rPr>
              <a:t>Asha Morrow 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</a:rPr>
              <a:t>2019 Best and Outstanding Center of Excellence Clinical Fellow Scholar Award </a:t>
            </a:r>
          </a:p>
        </p:txBody>
      </p:sp>
    </p:spTree>
    <p:extLst>
      <p:ext uri="{BB962C8B-B14F-4D97-AF65-F5344CB8AC3E}">
        <p14:creationId xmlns:p14="http://schemas.microsoft.com/office/powerpoint/2010/main" val="24640164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" y="9427"/>
            <a:ext cx="9144000" cy="1143000"/>
          </a:xfrm>
        </p:spPr>
        <p:txBody>
          <a:bodyPr/>
          <a:lstStyle/>
          <a:p>
            <a:pPr eaLnBrk="1" hangingPunct="1"/>
            <a:r>
              <a:rPr lang="en-US" sz="2800" dirty="0">
                <a:latin typeface="Arial" pitchFamily="34" charset="0"/>
                <a:ea typeface="Geneva"/>
                <a:cs typeface="Geneva"/>
              </a:rPr>
              <a:t>How Are Academic Skills Developed in PEM Fellowship?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t="332" r="16121" b="-1"/>
          <a:stretch/>
        </p:blipFill>
        <p:spPr>
          <a:xfrm>
            <a:off x="1143001" y="1600200"/>
            <a:ext cx="7040288" cy="527871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590800" y="6202129"/>
            <a:ext cx="6559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(SOC)</a:t>
            </a:r>
          </a:p>
        </p:txBody>
      </p:sp>
    </p:spTree>
    <p:extLst>
      <p:ext uri="{BB962C8B-B14F-4D97-AF65-F5344CB8AC3E}">
        <p14:creationId xmlns:p14="http://schemas.microsoft.com/office/powerpoint/2010/main" val="2809872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200" y="44924"/>
            <a:ext cx="8534400" cy="1143000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PEM at Baylor and Texas Children’s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90781858"/>
              </p:ext>
            </p:extLst>
          </p:nvPr>
        </p:nvGraphicFramePr>
        <p:xfrm>
          <a:off x="304800" y="1295400"/>
          <a:ext cx="8309811" cy="56658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225" cy="149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2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225" cy="1492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9"/>
          <p:cNvSpPr>
            <a:spLocks noGrp="1" noChangeArrowheads="1"/>
          </p:cNvSpPr>
          <p:nvPr>
            <p:ph type="title"/>
          </p:nvPr>
        </p:nvSpPr>
        <p:spPr bwMode="ltGray">
          <a:xfrm>
            <a:off x="1219200" y="304800"/>
            <a:ext cx="6705600" cy="76200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latin typeface="Arial" pitchFamily="34" charset="0"/>
                <a:ea typeface="Geneva"/>
                <a:cs typeface="Geneva"/>
              </a:rPr>
              <a:t>Topics in Research Series: 2022-2023 Schedule</a:t>
            </a:r>
            <a:endParaRPr lang="en-US" sz="3200" b="0" dirty="0">
              <a:solidFill>
                <a:schemeClr val="accent2"/>
              </a:solidFill>
              <a:latin typeface="Arial" pitchFamily="34" charset="0"/>
              <a:ea typeface="Geneva"/>
              <a:cs typeface="Geneva"/>
            </a:endParaRPr>
          </a:p>
        </p:txBody>
      </p:sp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C00772FB-8036-B24C-9238-A425F14230A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1524000"/>
            <a:ext cx="5638800" cy="5127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867696"/>
      </p:ext>
    </p:extLst>
  </p:cSld>
  <p:clrMapOvr>
    <a:masterClrMapping/>
  </p:clrMapOvr>
  <p:transition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8534400" cy="1143000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en-US" dirty="0">
                <a:latin typeface="Arial" pitchFamily="34" charset="0"/>
                <a:ea typeface="Geneva"/>
                <a:cs typeface="Geneva"/>
              </a:rPr>
              <a:t>Advisory Committee on </a:t>
            </a:r>
            <a:br>
              <a:rPr lang="en-US" dirty="0">
                <a:latin typeface="Arial" pitchFamily="34" charset="0"/>
                <a:ea typeface="Geneva"/>
                <a:cs typeface="Geneva"/>
              </a:rPr>
            </a:br>
            <a:r>
              <a:rPr lang="en-US" dirty="0">
                <a:latin typeface="Arial" pitchFamily="34" charset="0"/>
                <a:ea typeface="Geneva"/>
                <a:cs typeface="Geneva"/>
              </a:rPr>
              <a:t>Excellence in Research (ACER)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3049498455"/>
              </p:ext>
            </p:extLst>
          </p:nvPr>
        </p:nvGraphicFramePr>
        <p:xfrm>
          <a:off x="990600" y="1299328"/>
          <a:ext cx="7391400" cy="541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7967470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AutoShape 4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225" cy="149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8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225" cy="1492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Rectangle 29"/>
          <p:cNvSpPr>
            <a:spLocks noGrp="1" noChangeArrowheads="1"/>
          </p:cNvSpPr>
          <p:nvPr>
            <p:ph type="title"/>
          </p:nvPr>
        </p:nvSpPr>
        <p:spPr bwMode="ltGray">
          <a:xfrm>
            <a:off x="533400" y="74612"/>
            <a:ext cx="8077200" cy="1323975"/>
          </a:xfrm>
        </p:spPr>
        <p:txBody>
          <a:bodyPr>
            <a:normAutofit fontScale="90000"/>
          </a:bodyPr>
          <a:lstStyle/>
          <a:p>
            <a:r>
              <a:rPr lang="en-US" sz="4900" dirty="0">
                <a:latin typeface="Arial" pitchFamily="34" charset="0"/>
                <a:ea typeface="Geneva"/>
                <a:cs typeface="Geneva"/>
              </a:rPr>
              <a:t>Journal</a:t>
            </a:r>
            <a:r>
              <a:rPr lang="en-US" dirty="0">
                <a:latin typeface="Arial" pitchFamily="34" charset="0"/>
                <a:ea typeface="Geneva"/>
                <a:cs typeface="Geneva"/>
              </a:rPr>
              <a:t> Club &amp; Literature Review </a:t>
            </a:r>
            <a:endParaRPr lang="en-US" sz="3200" b="0" dirty="0">
              <a:solidFill>
                <a:schemeClr val="accent2"/>
              </a:solidFill>
              <a:latin typeface="Arial" pitchFamily="34" charset="0"/>
              <a:ea typeface="Geneva"/>
              <a:cs typeface="Geneva"/>
            </a:endParaRP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1198791176"/>
              </p:ext>
            </p:extLst>
          </p:nvPr>
        </p:nvGraphicFramePr>
        <p:xfrm>
          <a:off x="505968" y="1676400"/>
          <a:ext cx="8638032" cy="4343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587170024"/>
      </p:ext>
    </p:extLst>
  </p:cSld>
  <p:clrMapOvr>
    <a:masterClrMapping/>
  </p:clrMapOvr>
  <p:transition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0"/>
            <a:ext cx="8356979" cy="11430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dirty="0">
                <a:latin typeface="Arial" pitchFamily="34" charset="0"/>
                <a:ea typeface="Geneva"/>
                <a:cs typeface="Geneva"/>
              </a:rPr>
              <a:t>Faculty &amp; Research Mentor Roles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3330548039"/>
              </p:ext>
            </p:extLst>
          </p:nvPr>
        </p:nvGraphicFramePr>
        <p:xfrm>
          <a:off x="914400" y="1524000"/>
          <a:ext cx="7261746" cy="5076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463113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76200"/>
            <a:ext cx="7601803" cy="1143000"/>
          </a:xfrm>
        </p:spPr>
        <p:txBody>
          <a:bodyPr/>
          <a:lstStyle/>
          <a:p>
            <a:pPr eaLnBrk="1" hangingPunct="1"/>
            <a:r>
              <a:rPr lang="en-US" dirty="0">
                <a:latin typeface="Arial" pitchFamily="34" charset="0"/>
                <a:ea typeface="Geneva"/>
                <a:cs typeface="Geneva"/>
              </a:rPr>
              <a:t>Other Scholarly Activities 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3405761330"/>
              </p:ext>
            </p:extLst>
          </p:nvPr>
        </p:nvGraphicFramePr>
        <p:xfrm>
          <a:off x="228600" y="1676400"/>
          <a:ext cx="88392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4628127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6575" y="228600"/>
            <a:ext cx="7616825" cy="1143000"/>
          </a:xfrm>
        </p:spPr>
        <p:txBody>
          <a:bodyPr/>
          <a:lstStyle/>
          <a:p>
            <a:pPr eaLnBrk="1" hangingPunct="1"/>
            <a:r>
              <a:rPr lang="en-US" dirty="0">
                <a:latin typeface="Arial" pitchFamily="34" charset="0"/>
                <a:ea typeface="Geneva"/>
                <a:cs typeface="Geneva"/>
              </a:rPr>
              <a:t>Other Activities (Optional)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1728597015"/>
              </p:ext>
            </p:extLst>
          </p:nvPr>
        </p:nvGraphicFramePr>
        <p:xfrm>
          <a:off x="685800" y="1028700"/>
          <a:ext cx="7467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31278" y="5276336"/>
            <a:ext cx="1917001" cy="143662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25271" y="5295900"/>
            <a:ext cx="1988658" cy="149149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9958" y="5334000"/>
            <a:ext cx="2021849" cy="1415294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401845928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499219" y="236567"/>
            <a:ext cx="7533564" cy="1143000"/>
          </a:xfrm>
        </p:spPr>
        <p:txBody>
          <a:bodyPr/>
          <a:lstStyle/>
          <a:p>
            <a:pPr eaLnBrk="1" hangingPunct="1"/>
            <a:r>
              <a:rPr lang="en-US" sz="3200" dirty="0">
                <a:latin typeface="Arial" pitchFamily="34" charset="0"/>
                <a:ea typeface="Geneva"/>
                <a:cs typeface="Geneva"/>
              </a:rPr>
              <a:t>PEM RESEARCH STRUCTURE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3521973531"/>
              </p:ext>
            </p:extLst>
          </p:nvPr>
        </p:nvGraphicFramePr>
        <p:xfrm>
          <a:off x="1023100" y="1316951"/>
          <a:ext cx="7087696" cy="5528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06793" y="772678"/>
            <a:ext cx="851979" cy="121377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69121" y="1910168"/>
            <a:ext cx="912528" cy="13269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22217" y="1945802"/>
            <a:ext cx="1110293" cy="1330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30706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589656" y="428625"/>
            <a:ext cx="2552132" cy="1143000"/>
          </a:xfrm>
        </p:spPr>
        <p:txBody>
          <a:bodyPr/>
          <a:lstStyle/>
          <a:p>
            <a:pPr eaLnBrk="1" hangingPunct="1"/>
            <a:r>
              <a:rPr lang="en-US" dirty="0">
                <a:latin typeface="Arial" pitchFamily="34" charset="0"/>
                <a:ea typeface="Geneva"/>
                <a:cs typeface="Geneva"/>
              </a:rPr>
              <a:t>PECARN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689537979"/>
              </p:ext>
            </p:extLst>
          </p:nvPr>
        </p:nvGraphicFramePr>
        <p:xfrm>
          <a:off x="1066800" y="2142766"/>
          <a:ext cx="7096670" cy="3754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0420" name="Picture 2"/>
          <p:cNvPicPr>
            <a:picLocks noChangeAspect="1" noChangeArrowheads="1"/>
          </p:cNvPicPr>
          <p:nvPr/>
        </p:nvPicPr>
        <p:blipFill>
          <a:blip r:embed="rId8"/>
          <a:srcRect l="18987" t="20908" r="24792" b="40427"/>
          <a:stretch>
            <a:fillRect/>
          </a:stretch>
        </p:blipFill>
        <p:spPr bwMode="auto">
          <a:xfrm>
            <a:off x="3997538" y="209549"/>
            <a:ext cx="5002212" cy="181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421" name="TextBox 1"/>
          <p:cNvSpPr txBox="1">
            <a:spLocks noChangeArrowheads="1"/>
          </p:cNvSpPr>
          <p:nvPr/>
        </p:nvSpPr>
        <p:spPr bwMode="auto">
          <a:xfrm>
            <a:off x="2362201" y="6313488"/>
            <a:ext cx="26733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dirty="0">
                <a:hlinkClick r:id="rId9"/>
              </a:rPr>
              <a:t>www.pecarn.org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602025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: ongoing stud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half" idx="1"/>
          </p:nvPr>
        </p:nvSpPr>
        <p:spPr>
          <a:xfrm>
            <a:off x="457200" y="1676400"/>
            <a:ext cx="4038600" cy="39624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 dirty="0"/>
              <a:t>PECARN</a:t>
            </a:r>
            <a:r>
              <a:rPr lang="en-US" sz="1400" dirty="0"/>
              <a:t> 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C-spine prediction (Rubalcava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Arginine for sickle cell VOC (</a:t>
            </a:r>
            <a:r>
              <a:rPr lang="en-US" sz="1400" dirty="0" err="1"/>
              <a:t>Chumpitazi</a:t>
            </a:r>
            <a:r>
              <a:rPr lang="en-US" sz="1400" dirty="0"/>
              <a:t> </a:t>
            </a:r>
            <a:r>
              <a:rPr lang="mr-IN" sz="1400" dirty="0"/>
              <a:t>–</a:t>
            </a:r>
            <a:r>
              <a:rPr lang="en-US" sz="1400" dirty="0"/>
              <a:t> resubmission pending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Identification of pulmonary emboli (</a:t>
            </a:r>
            <a:r>
              <a:rPr lang="en-US" sz="1400" dirty="0" err="1"/>
              <a:t>Chumpitazi</a:t>
            </a:r>
            <a:r>
              <a:rPr lang="en-US" sz="1400" dirty="0"/>
              <a:t> </a:t>
            </a:r>
            <a:r>
              <a:rPr lang="mr-IN" sz="1400" dirty="0"/>
              <a:t>–</a:t>
            </a:r>
            <a:r>
              <a:rPr lang="en-US" sz="1400" dirty="0"/>
              <a:t> submission pending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Febrile baby study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Screening for sexually transmitted infections in the ED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Non-operative management of appendicitis (planning grant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Infections in solid organ transplant recipients (Cruz = study PI, nodal study)</a:t>
            </a:r>
          </a:p>
          <a:p>
            <a:pPr lvl="1">
              <a:buClr>
                <a:srgbClr val="002060"/>
              </a:buClr>
            </a:pPr>
            <a:r>
              <a:rPr lang="en-US" sz="1400" dirty="0" err="1"/>
              <a:t>Interobserver</a:t>
            </a:r>
            <a:r>
              <a:rPr lang="en-US" sz="1400" dirty="0"/>
              <a:t> agreement in historical and examination variables for headaches (Cruz = site PI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2772" y="1682496"/>
            <a:ext cx="4343400" cy="369927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 dirty="0"/>
              <a:t>PEM CRC 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Submersion (</a:t>
            </a:r>
            <a:r>
              <a:rPr lang="en-US" sz="1400" dirty="0" err="1"/>
              <a:t>Shenoi</a:t>
            </a:r>
            <a:r>
              <a:rPr lang="en-US" sz="1400" dirty="0"/>
              <a:t> = study PI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IBIs in acute otitis media (Cruz = senior PI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HUS (Cruz = site PI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HSV (Cruz = Study PI)</a:t>
            </a:r>
          </a:p>
          <a:p>
            <a:pPr lvl="1">
              <a:buClr>
                <a:srgbClr val="002060"/>
              </a:buClr>
            </a:pPr>
            <a:r>
              <a:rPr lang="en-US" sz="1400" dirty="0" err="1"/>
              <a:t>Omphalitis</a:t>
            </a:r>
            <a:r>
              <a:rPr lang="en-US" sz="1400" dirty="0"/>
              <a:t>/mastitis (Cruz = site PI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Short gut and CLABSI (Cruz = Co-I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Survey competition (quarterly)</a:t>
            </a:r>
          </a:p>
          <a:p>
            <a:pPr marL="0" indent="0">
              <a:buNone/>
            </a:pPr>
            <a:r>
              <a:rPr lang="en-US" sz="1400" b="1" dirty="0"/>
              <a:t>PERN 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Medical errors (Lewis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Influenza (Meskill)</a:t>
            </a:r>
          </a:p>
          <a:p>
            <a:pPr marL="0" indent="0">
              <a:buNone/>
            </a:pPr>
            <a:r>
              <a:rPr lang="en-US" sz="1400" b="1" dirty="0"/>
              <a:t>Industry 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New drug for sickle cell VOC (Chumpitazi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Smart cough (Sampayo)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Bluetooth monitoring of vital signs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New diagnostic platforms for rapid strep </a:t>
            </a:r>
          </a:p>
          <a:p>
            <a:pPr lvl="1">
              <a:buClr>
                <a:srgbClr val="002060"/>
              </a:buClr>
            </a:pPr>
            <a:r>
              <a:rPr lang="en-US" sz="1400" dirty="0"/>
              <a:t>Salivary biomarkers for traumatic brain injury</a:t>
            </a:r>
          </a:p>
        </p:txBody>
      </p:sp>
    </p:spTree>
    <p:extLst>
      <p:ext uri="{BB962C8B-B14F-4D97-AF65-F5344CB8AC3E}">
        <p14:creationId xmlns:p14="http://schemas.microsoft.com/office/powerpoint/2010/main" val="294082019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152400"/>
            <a:ext cx="7424051" cy="1143000"/>
          </a:xfrm>
        </p:spPr>
        <p:txBody>
          <a:bodyPr/>
          <a:lstStyle/>
          <a:p>
            <a:pPr eaLnBrk="1" hangingPunct="1"/>
            <a:r>
              <a:rPr lang="en-US" sz="3200" dirty="0">
                <a:latin typeface="Arial" pitchFamily="34" charset="0"/>
                <a:ea typeface="Geneva"/>
                <a:cs typeface="Geneva"/>
              </a:rPr>
              <a:t>Current Single-Center Studies </a:t>
            </a:r>
            <a:br>
              <a:rPr lang="en-US" sz="3200" dirty="0">
                <a:latin typeface="Arial" pitchFamily="34" charset="0"/>
                <a:ea typeface="Geneva"/>
                <a:cs typeface="Geneva"/>
              </a:rPr>
            </a:br>
            <a:r>
              <a:rPr lang="en-US" sz="3200" dirty="0">
                <a:latin typeface="Arial" pitchFamily="34" charset="0"/>
                <a:ea typeface="Geneva"/>
                <a:cs typeface="Geneva"/>
              </a:rPr>
              <a:t>(just a sampling)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562124601"/>
              </p:ext>
            </p:extLst>
          </p:nvPr>
        </p:nvGraphicFramePr>
        <p:xfrm>
          <a:off x="990600" y="1676400"/>
          <a:ext cx="7467600" cy="4823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535919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28600"/>
            <a:ext cx="7620000" cy="1143000"/>
          </a:xfrm>
        </p:spPr>
        <p:txBody>
          <a:bodyPr>
            <a:normAutofit/>
          </a:bodyPr>
          <a:lstStyle/>
          <a:p>
            <a:r>
              <a:rPr lang="en-US" b="1" dirty="0"/>
              <a:t>Texas Children’s Hospital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19625151"/>
              </p:ext>
            </p:extLst>
          </p:nvPr>
        </p:nvGraphicFramePr>
        <p:xfrm>
          <a:off x="1295400" y="1676400"/>
          <a:ext cx="6553200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4514138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0"/>
            <a:ext cx="8610600" cy="1143000"/>
          </a:xfrm>
        </p:spPr>
        <p:txBody>
          <a:bodyPr/>
          <a:lstStyle/>
          <a:p>
            <a:r>
              <a:rPr lang="en-US" sz="3200" dirty="0"/>
              <a:t>Examples of Fellows’ Studies 2016-current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219210724"/>
              </p:ext>
            </p:extLst>
          </p:nvPr>
        </p:nvGraphicFramePr>
        <p:xfrm>
          <a:off x="381000" y="1524000"/>
          <a:ext cx="8382000" cy="533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2630575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Evaluations in PEM Fellowship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728673297"/>
              </p:ext>
            </p:extLst>
          </p:nvPr>
        </p:nvGraphicFramePr>
        <p:xfrm>
          <a:off x="685800" y="1676400"/>
          <a:ext cx="76200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custDataLst>
      <p:tags r:id="rId1"/>
    </p:custData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28600"/>
            <a:ext cx="6705600" cy="1143000"/>
          </a:xfrm>
        </p:spPr>
        <p:txBody>
          <a:bodyPr/>
          <a:lstStyle/>
          <a:p>
            <a:r>
              <a:rPr lang="en-US" dirty="0"/>
              <a:t>Moonlighting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3998813"/>
              </p:ext>
            </p:extLst>
          </p:nvPr>
        </p:nvGraphicFramePr>
        <p:xfrm>
          <a:off x="838200" y="1600200"/>
          <a:ext cx="7467600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/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928490"/>
            <a:ext cx="6705600" cy="114300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2022-23 PEM Chief Fellows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524000" y="5562369"/>
            <a:ext cx="23083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atie Guess MD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702385" y="5566617"/>
            <a:ext cx="34909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drienne Smallwood M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48DD79-987D-44E4-A94B-F4B1F9933347}"/>
              </a:ext>
            </a:extLst>
          </p:cNvPr>
          <p:cNvSpPr txBox="1"/>
          <p:nvPr/>
        </p:nvSpPr>
        <p:spPr>
          <a:xfrm>
            <a:off x="2817524" y="6440927"/>
            <a:ext cx="39195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C00000"/>
                </a:solidFill>
              </a:rPr>
              <a:t>PEMFellowChiefs@BCM.edu</a:t>
            </a:r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6" name="Picture 5" descr="A person with long hair smiling&#10;&#10;Description automatically generated with low confidence">
            <a:extLst>
              <a:ext uri="{FF2B5EF4-FFF2-40B4-BE49-F238E27FC236}">
                <a16:creationId xmlns:a16="http://schemas.microsoft.com/office/drawing/2014/main" id="{7676882B-F0A5-B445-9FF9-6256D0E15C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0" y="1736999"/>
            <a:ext cx="2649073" cy="3428211"/>
          </a:xfrm>
          <a:prstGeom prst="rect">
            <a:avLst/>
          </a:prstGeom>
        </p:spPr>
      </p:pic>
      <p:pic>
        <p:nvPicPr>
          <p:cNvPr id="11" name="Picture 10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2C26A018-F931-814A-AC3A-2B8C510E89D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3327" y="1752239"/>
            <a:ext cx="2649073" cy="3428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760161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/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27" b="20027"/>
          <a:stretch>
            <a:fillRect/>
          </a:stretch>
        </p:blipFill>
        <p:spPr>
          <a:xfrm>
            <a:off x="136512" y="5700242"/>
            <a:ext cx="1219200" cy="1046928"/>
          </a:xfrm>
        </p:spPr>
      </p:pic>
      <p:sp>
        <p:nvSpPr>
          <p:cNvPr id="4" name="Rectangle 3"/>
          <p:cNvSpPr/>
          <p:nvPr/>
        </p:nvSpPr>
        <p:spPr>
          <a:xfrm>
            <a:off x="-665758" y="1398995"/>
            <a:ext cx="2823741" cy="1569660"/>
          </a:xfrm>
          <a:prstGeom prst="rect">
            <a:avLst/>
          </a:prstGeom>
          <a:noFill/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b="1" kern="0" dirty="0"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b="1" kern="0" dirty="0"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800" b="1" kern="0" dirty="0"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800" b="1" kern="0" dirty="0">
                <a:latin typeface="+mn-lt"/>
              </a:rPr>
              <a:t>CONTACT US</a:t>
            </a:r>
            <a:br>
              <a:rPr lang="en-US" sz="800" b="1" kern="0" dirty="0">
                <a:latin typeface="+mn-lt"/>
              </a:rPr>
            </a:br>
            <a:endParaRPr lang="en-US" sz="800" b="1" kern="0" dirty="0"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800" b="1" kern="0" dirty="0">
                <a:solidFill>
                  <a:srgbClr val="FF0000"/>
                </a:solidFill>
                <a:latin typeface="+mn-lt"/>
              </a:rPr>
              <a:t>Pediatric Emergency Medicine 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800" b="1" kern="0" dirty="0">
                <a:solidFill>
                  <a:srgbClr val="FF0000"/>
                </a:solidFill>
                <a:latin typeface="+mn-lt"/>
              </a:rPr>
              <a:t>Fellowship Program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br>
              <a:rPr lang="en-US" sz="800" kern="0" dirty="0">
                <a:latin typeface="+mn-lt"/>
              </a:rPr>
            </a:br>
            <a:r>
              <a:rPr lang="en-US" sz="800" b="1" kern="0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Texas Children's Hospital</a:t>
            </a:r>
            <a:br>
              <a:rPr lang="en-US" sz="800" kern="0" dirty="0">
                <a:solidFill>
                  <a:schemeClr val="accent2">
                    <a:lumMod val="75000"/>
                  </a:schemeClr>
                </a:solidFill>
                <a:latin typeface="+mn-lt"/>
              </a:rPr>
            </a:br>
            <a:endParaRPr lang="en-US" sz="800" kern="0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800" b="1" kern="0" dirty="0">
                <a:latin typeface="+mn-lt"/>
              </a:rPr>
              <a:t>6621 Fannin Street, 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800" b="1" kern="0" dirty="0">
                <a:latin typeface="+mn-lt"/>
              </a:rPr>
              <a:t>Ste. A2210</a:t>
            </a:r>
            <a:br>
              <a:rPr lang="en-US" sz="800" b="1" kern="0" dirty="0">
                <a:latin typeface="+mn-lt"/>
              </a:rPr>
            </a:br>
            <a:r>
              <a:rPr lang="en-US" sz="800" b="1" kern="0" dirty="0">
                <a:latin typeface="+mn-lt"/>
              </a:rPr>
              <a:t>Houston, TX 77030</a:t>
            </a:r>
          </a:p>
        </p:txBody>
      </p:sp>
      <p:sp>
        <p:nvSpPr>
          <p:cNvPr id="5" name="Rectangle 8"/>
          <p:cNvSpPr txBox="1">
            <a:spLocks noChangeArrowheads="1"/>
          </p:cNvSpPr>
          <p:nvPr/>
        </p:nvSpPr>
        <p:spPr bwMode="auto">
          <a:xfrm>
            <a:off x="2438399" y="1303159"/>
            <a:ext cx="30480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200" kern="0" dirty="0"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200" b="1" kern="0" dirty="0"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br>
              <a:rPr lang="en-US" sz="1200" b="1" kern="0" dirty="0">
                <a:latin typeface="+mn-lt"/>
              </a:rPr>
            </a:br>
            <a:br>
              <a:rPr lang="en-US" sz="1200" kern="0" dirty="0">
                <a:latin typeface="+mn-lt"/>
              </a:rPr>
            </a:br>
            <a:endParaRPr lang="en-US" sz="1200" kern="0" dirty="0">
              <a:latin typeface="+mn-lt"/>
            </a:endParaRPr>
          </a:p>
        </p:txBody>
      </p:sp>
      <p:sp>
        <p:nvSpPr>
          <p:cNvPr id="6" name="Rectangle 5"/>
          <p:cNvSpPr txBox="1">
            <a:spLocks noChangeArrowheads="1"/>
          </p:cNvSpPr>
          <p:nvPr/>
        </p:nvSpPr>
        <p:spPr bwMode="auto">
          <a:xfrm>
            <a:off x="2208006" y="1688525"/>
            <a:ext cx="29718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2000" b="1" kern="0" dirty="0"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br>
              <a:rPr lang="en-US" sz="2000" kern="0" dirty="0">
                <a:latin typeface="+mn-lt"/>
              </a:rPr>
            </a:br>
            <a:endParaRPr lang="en-US" sz="2000" kern="0" dirty="0"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2000" kern="0" dirty="0"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2978648"/>
            <a:ext cx="1143000" cy="17209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TextBox 12"/>
          <p:cNvSpPr txBox="1"/>
          <p:nvPr/>
        </p:nvSpPr>
        <p:spPr>
          <a:xfrm>
            <a:off x="5753100" y="4699569"/>
            <a:ext cx="24384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</a:rPr>
              <a:t>Felecia Smith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</a:rPr>
              <a:t>fasmith@texaschildrens.org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</a:rPr>
              <a:t>832-824-5399</a:t>
            </a:r>
            <a:endParaRPr lang="en-US" sz="1200" b="1" dirty="0">
              <a:solidFill>
                <a:schemeClr val="bg1"/>
              </a:solidFill>
              <a:latin typeface="+mj-lt"/>
            </a:endParaRPr>
          </a:p>
          <a:p>
            <a:pPr algn="ctr"/>
            <a:endParaRPr lang="en-US" sz="14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3025421" y="4675927"/>
            <a:ext cx="13369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n-lt"/>
              </a:rPr>
              <a:t>Lisa </a:t>
            </a:r>
            <a:r>
              <a:rPr lang="en-US" sz="1200" b="1" dirty="0" err="1">
                <a:solidFill>
                  <a:schemeClr val="bg1"/>
                </a:solidFill>
                <a:latin typeface="+mn-lt"/>
              </a:rPr>
              <a:t>Kuchik</a:t>
            </a:r>
            <a:endParaRPr lang="en-US" sz="1200" b="1" dirty="0">
              <a:solidFill>
                <a:schemeClr val="bg1"/>
              </a:solidFill>
              <a:latin typeface="+mn-lt"/>
            </a:endParaRPr>
          </a:p>
          <a:p>
            <a:pPr algn="ctr"/>
            <a:r>
              <a:rPr lang="en-US" sz="1200" dirty="0" err="1">
                <a:solidFill>
                  <a:schemeClr val="bg1"/>
                </a:solidFill>
                <a:latin typeface="+mn-lt"/>
              </a:rPr>
              <a:t>lkuchik@bcm.eddu</a:t>
            </a:r>
            <a:endParaRPr lang="en-US" sz="1200" dirty="0">
              <a:solidFill>
                <a:schemeClr val="bg1"/>
              </a:solidFill>
              <a:latin typeface="+mn-lt"/>
            </a:endParaRPr>
          </a:p>
          <a:p>
            <a:pPr algn="ctr"/>
            <a:r>
              <a:rPr lang="en-US" sz="1200" dirty="0">
                <a:solidFill>
                  <a:schemeClr val="bg1"/>
                </a:solidFill>
                <a:latin typeface="+mn-lt"/>
              </a:rPr>
              <a:t>832-824-6309</a:t>
            </a:r>
          </a:p>
        </p:txBody>
      </p:sp>
      <p:sp>
        <p:nvSpPr>
          <p:cNvPr id="15" name="Rectangle 8"/>
          <p:cNvSpPr txBox="1">
            <a:spLocks noChangeArrowheads="1"/>
          </p:cNvSpPr>
          <p:nvPr/>
        </p:nvSpPr>
        <p:spPr bwMode="auto">
          <a:xfrm>
            <a:off x="4343400" y="3630114"/>
            <a:ext cx="2743472" cy="630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200" kern="0" dirty="0">
              <a:latin typeface="+mn-lt"/>
            </a:endParaRPr>
          </a:p>
        </p:txBody>
      </p:sp>
      <p:sp>
        <p:nvSpPr>
          <p:cNvPr id="16" name="Rectangle 8"/>
          <p:cNvSpPr txBox="1">
            <a:spLocks noChangeArrowheads="1"/>
          </p:cNvSpPr>
          <p:nvPr/>
        </p:nvSpPr>
        <p:spPr bwMode="auto">
          <a:xfrm>
            <a:off x="3695155" y="1588100"/>
            <a:ext cx="2895601" cy="630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200" b="1" kern="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99" y="185451"/>
            <a:ext cx="1254213" cy="806279"/>
          </a:xfrm>
          <a:prstGeom prst="rect">
            <a:avLst/>
          </a:prstGeom>
        </p:spPr>
      </p:pic>
      <p:sp>
        <p:nvSpPr>
          <p:cNvPr id="18" name="Rectangle 8">
            <a:extLst>
              <a:ext uri="{FF2B5EF4-FFF2-40B4-BE49-F238E27FC236}">
                <a16:creationId xmlns:a16="http://schemas.microsoft.com/office/drawing/2014/main" id="{FDBC1560-47F8-3947-8D7C-A981DDE57A93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4323080" y="2218802"/>
            <a:ext cx="1970355" cy="483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Marideth Rus, MD, MEd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PEM- GH Combined Fellowship Director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 Associate Program Director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kern="0" dirty="0" err="1">
                <a:latin typeface="+mn-lt"/>
              </a:rPr>
              <a:t>mcrus@texaschildrens.org</a:t>
            </a:r>
            <a:endParaRPr lang="en-US" sz="1200" kern="0" dirty="0">
              <a:latin typeface="+mn-lt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endParaRPr lang="en-US" sz="1200" kern="0" dirty="0">
              <a:latin typeface="+mn-lt"/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B8EA17CD-6CA0-7A41-8B9B-3ADF6945CB04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1724796" y="2218802"/>
            <a:ext cx="1970357" cy="483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Kim Little-Wienert, MD, MEd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Program Director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sz="1200" kern="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kjlittle@texaschildrens.org</a:t>
            </a:r>
            <a:endParaRPr lang="en-US" sz="1200" kern="0" dirty="0">
              <a:latin typeface="+mn-lt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FAEB031-1EC7-974F-AB90-7B69F47E2EF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3" t="10407" r="25301" b="91"/>
          <a:stretch/>
        </p:blipFill>
        <p:spPr>
          <a:xfrm flipH="1">
            <a:off x="4457692" y="302000"/>
            <a:ext cx="1450824" cy="183359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1" name="Picture 20" descr="A person smiling at the camera&#10;&#10;Description automatically generated with medium confidence">
            <a:extLst>
              <a:ext uri="{FF2B5EF4-FFF2-40B4-BE49-F238E27FC236}">
                <a16:creationId xmlns:a16="http://schemas.microsoft.com/office/drawing/2014/main" id="{B340B2FE-5788-F14C-9A00-F4EB79FFC97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962721" y="250375"/>
            <a:ext cx="1494508" cy="186813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2" name="Picture 21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83714AD8-52AA-CC48-9F43-86F35E838F4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34" r="16667"/>
          <a:stretch/>
        </p:blipFill>
        <p:spPr>
          <a:xfrm flipH="1">
            <a:off x="7353293" y="302000"/>
            <a:ext cx="1581475" cy="183359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7B010C4-A44C-0F40-93F8-1EE87B46AD4A}"/>
              </a:ext>
            </a:extLst>
          </p:cNvPr>
          <p:cNvSpPr txBox="1"/>
          <p:nvPr/>
        </p:nvSpPr>
        <p:spPr>
          <a:xfrm flipH="1">
            <a:off x="7202695" y="2217307"/>
            <a:ext cx="188267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Tw Cen MT" panose="020B0602020104020603" pitchFamily="34" charset="77"/>
              </a:rPr>
              <a:t>Elizabeth Moran, MD, MEd</a:t>
            </a:r>
          </a:p>
          <a:p>
            <a:pPr algn="ctr"/>
            <a:r>
              <a:rPr lang="en-US" sz="1200" dirty="0">
                <a:latin typeface="Tw Cen MT" panose="020B0602020104020603" pitchFamily="34" charset="77"/>
              </a:rPr>
              <a:t>Assistant Program Director</a:t>
            </a:r>
          </a:p>
          <a:p>
            <a:pPr algn="ctr"/>
            <a:r>
              <a:rPr lang="en-US" sz="1200" kern="0" dirty="0">
                <a:latin typeface="+mn-lt"/>
                <a:ea typeface="Tahoma"/>
                <a:cs typeface="Tahoma"/>
              </a:rPr>
              <a:t>Em10@bcm.edu</a:t>
            </a:r>
            <a:endParaRPr lang="en-US" sz="1200" dirty="0">
              <a:latin typeface="+mn-lt"/>
            </a:endParaRPr>
          </a:p>
          <a:p>
            <a:pPr algn="ctr"/>
            <a:endParaRPr lang="en-US" sz="1200" dirty="0">
              <a:latin typeface="Tw Cen MT" panose="020B0602020104020603" pitchFamily="34" charset="77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D742A6D-2E16-2849-8138-B89584918E2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5779" t="63491" r="39554" b="12805"/>
          <a:stretch/>
        </p:blipFill>
        <p:spPr>
          <a:xfrm rot="5400000">
            <a:off x="2833445" y="3267609"/>
            <a:ext cx="1720921" cy="1143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44" t="19876" r="15078" b="19876"/>
          <a:stretch/>
        </p:blipFill>
        <p:spPr>
          <a:xfrm>
            <a:off x="-36303" y="5486400"/>
            <a:ext cx="1542835" cy="1341769"/>
          </a:xfr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50666" t="16682" r="287" b="4306"/>
          <a:stretch/>
        </p:blipFill>
        <p:spPr>
          <a:xfrm>
            <a:off x="1752600" y="4948142"/>
            <a:ext cx="3984710" cy="1909858"/>
          </a:xfrm>
          <a:prstGeom prst="rect">
            <a:avLst/>
          </a:prstGeom>
        </p:spPr>
      </p:pic>
      <p:pic>
        <p:nvPicPr>
          <p:cNvPr id="4" name="Picture 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2FD0825F-C2CE-EC4E-983D-5295CD553A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1404" y="0"/>
            <a:ext cx="5941192" cy="4666639"/>
          </a:xfrm>
          <a:prstGeom prst="rect">
            <a:avLst/>
          </a:prstGeom>
        </p:spPr>
      </p:pic>
      <p:pic>
        <p:nvPicPr>
          <p:cNvPr id="29698" name="Picture 2" descr="Image result for instagram">
            <a:extLst>
              <a:ext uri="{FF2B5EF4-FFF2-40B4-BE49-F238E27FC236}">
                <a16:creationId xmlns:a16="http://schemas.microsoft.com/office/drawing/2014/main" id="{4869237C-3C52-6546-A3E3-069A0CF0C2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230" y="5486399"/>
            <a:ext cx="1341769" cy="1341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920ED4D-B611-9142-AFFC-E0CF2E6319D1}"/>
              </a:ext>
            </a:extLst>
          </p:cNvPr>
          <p:cNvSpPr txBox="1"/>
          <p:nvPr/>
        </p:nvSpPr>
        <p:spPr>
          <a:xfrm>
            <a:off x="5737310" y="5972617"/>
            <a:ext cx="20923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@</a:t>
            </a:r>
            <a:r>
              <a:rPr lang="en-US" sz="1800" dirty="0" err="1"/>
              <a:t>bcm_pemfellow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244485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76200"/>
            <a:ext cx="7848600" cy="1143000"/>
          </a:xfrm>
        </p:spPr>
        <p:txBody>
          <a:bodyPr>
            <a:normAutofit/>
          </a:bodyPr>
          <a:lstStyle/>
          <a:p>
            <a:r>
              <a:rPr lang="en-US" dirty="0"/>
              <a:t>Texas Children’s - Main Campu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1579648986"/>
              </p:ext>
            </p:extLst>
          </p:nvPr>
        </p:nvGraphicFramePr>
        <p:xfrm>
          <a:off x="228600" y="838200"/>
          <a:ext cx="8610600" cy="5943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5" y="-27709"/>
            <a:ext cx="1533525" cy="1526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4073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6200"/>
            <a:ext cx="7848600" cy="1143000"/>
          </a:xfrm>
        </p:spPr>
        <p:txBody>
          <a:bodyPr>
            <a:normAutofit/>
          </a:bodyPr>
          <a:lstStyle/>
          <a:p>
            <a:r>
              <a:rPr lang="en-US" dirty="0"/>
              <a:t>Texas Children’s – West Campu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102265928"/>
              </p:ext>
            </p:extLst>
          </p:nvPr>
        </p:nvGraphicFramePr>
        <p:xfrm>
          <a:off x="609600" y="1524000"/>
          <a:ext cx="7086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7064" y="2421805"/>
            <a:ext cx="2705100" cy="1685925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27064" y="4193603"/>
            <a:ext cx="2667000" cy="1776264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577465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52400"/>
            <a:ext cx="7848600" cy="1143000"/>
          </a:xfrm>
        </p:spPr>
        <p:txBody>
          <a:bodyPr/>
          <a:lstStyle/>
          <a:p>
            <a:r>
              <a:rPr lang="en-US" dirty="0"/>
              <a:t>Texas Children’s – Woodland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735335239"/>
              </p:ext>
            </p:extLst>
          </p:nvPr>
        </p:nvGraphicFramePr>
        <p:xfrm>
          <a:off x="914400" y="1677144"/>
          <a:ext cx="7086600" cy="4648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0" y="3276600"/>
            <a:ext cx="3315313" cy="221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0392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XPANDSHOWBAR" val="True"/>
  <p:tag name="BULLETTYPE" val="3"/>
  <p:tag name="RESPCOUNTERSTYLE" val="-1"/>
  <p:tag name="INPUTSOURCE" val="1"/>
  <p:tag name="BACKUPMAINTENANCE" val="7"/>
  <p:tag name="ROTATIONINTERVAL" val="2"/>
  <p:tag name="RACERSMAXDISPLAYED" val="5"/>
  <p:tag name="TEAMSINLEADERBOARD" val="5"/>
  <p:tag name="BUBBLEVALUEFORMAT" val="0.0"/>
  <p:tag name="CUSTOMCELLFORECOLOR" val="-16777216"/>
  <p:tag name="CUSTOMCELLBACKCOLOR4" val="-8355712"/>
  <p:tag name="DISPLAYDEVICEID" val="True"/>
  <p:tag name="GRIDSIZE" val="{Width=800, Height=600}"/>
  <p:tag name="CHARTLABELS" val="1"/>
  <p:tag name="PARTLISTDEFAULT" val="1"/>
  <p:tag name="INCORRECTPOINTVALUE" val="0"/>
  <p:tag name="AUTOADJUSTPARTRANGE" val="True"/>
  <p:tag name="FIBNUMRESULTS" val="5"/>
  <p:tag name="PRRESPONSE2" val="9"/>
  <p:tag name="PRRESPONSE6" val="5"/>
  <p:tag name="PRRESPONSE10" val="1"/>
  <p:tag name="POWERPOINTVERSION" val="12.0"/>
  <p:tag name="CSVFORMAT" val="0"/>
  <p:tag name="RESPCOUNTERFORMAT" val="0"/>
  <p:tag name="ALLOWDUPLICATES" val="False"/>
  <p:tag name="REVIEWONLY" val="False"/>
  <p:tag name="RACEANIMATIONSPEED" val="3"/>
  <p:tag name="BUBBLENAMEVISIBLE" val="True"/>
  <p:tag name="CUSTOMGRIDBACKCOLOR" val="-722948"/>
  <p:tag name="USESCHEMECOLORS" val="True"/>
  <p:tag name="GRIDROTATIONINTERVAL" val="2"/>
  <p:tag name="CHARTCOLORS" val="0"/>
  <p:tag name="INCLUDEPPT" val="True"/>
  <p:tag name="REALTIMEBACKUPPATH" val="(None)"/>
  <p:tag name="FIBDISPLAYRESULTS" val="True"/>
  <p:tag name="PRRESPONSE3" val="8"/>
  <p:tag name="PRRESPONSE8" val="3"/>
  <p:tag name="TPVERSION" val="2008"/>
  <p:tag name="ANSWERNOWSTYLE" val="-1"/>
  <p:tag name="COUNTDOWNSECONDS" val="10"/>
  <p:tag name="AUTOADVANCE" val="False"/>
  <p:tag name="SKIPREMAININGRACESLIDES" val="True"/>
  <p:tag name="BUBBLEGROUPING" val="3"/>
  <p:tag name="CUSTOMCELLBACKCOLOR3" val="-268652"/>
  <p:tag name="AUTOSIZEGRID" val="True"/>
  <p:tag name="INCLUDENONRESPONDERS" val="False"/>
  <p:tag name="REALTIMEBACKUP" val="False"/>
  <p:tag name="FIBINCLUDEOTHER" val="True"/>
  <p:tag name="PRRESPONSE5" val="6"/>
  <p:tag name="ALWAYSOPENPOLL" val="False"/>
  <p:tag name="ANSWERNOWTEXT" val="Answer Now"/>
  <p:tag name="BACKUPSESSIONS" val="True"/>
  <p:tag name="RACEENDPOINTS" val="100"/>
  <p:tag name="DEFAULTNUMTEAMS" val="5"/>
  <p:tag name="DISPLAYDEVICENUMBER" val="True"/>
  <p:tag name="RESETCHARTS" val="True"/>
  <p:tag name="ZEROBASED" val="False"/>
  <p:tag name="PRRESPONSE1" val="10"/>
  <p:tag name="SHOWFLASHWARNING" val="True"/>
  <p:tag name="COUNTDOWNSTYLE" val="-1"/>
  <p:tag name="AUTOUPDATEALIASES" val="True"/>
  <p:tag name="BUBBLESIZEVISIBLE" val="True"/>
  <p:tag name="GRIDOPACITY" val="90"/>
  <p:tag name="ALLOWUSERFEEDBACK" val="True"/>
  <p:tag name="FIBDISPLAYKEYWORDS" val="True"/>
  <p:tag name="SHOWBARVISIBLE" val="True"/>
  <p:tag name="NUMRESPONSES" val="1"/>
  <p:tag name="MAXRESPONDERS" val="5"/>
  <p:tag name="GRIDPOSITION" val="1"/>
  <p:tag name="CHARTSCALE" val="True"/>
  <p:tag name="PRRESPONSE9" val="2"/>
  <p:tag name="CHARTVALUEFORMAT" val="0%"/>
  <p:tag name="CUSTOMCELLBACKCOLOR2" val="-13395457"/>
  <p:tag name="CORRECTPOINTVALUE" val="1"/>
  <p:tag name="USESECONDARYMONITOR" val="True"/>
  <p:tag name="PARTICIPANTSINLEADERBOARD" val="5"/>
  <p:tag name="MULTIRESPDIVISOR" val="1"/>
  <p:tag name="SAVECSVWITHSESSION" val="True"/>
  <p:tag name="DISPLAYNAME" val="True"/>
  <p:tag name="PRRESPONSE7" val="4"/>
  <p:tag name="POLLINGCYCLE" val="2"/>
  <p:tag name="STDCHART" val="1"/>
  <p:tag name="RESPTABLESTYLE" val="-1"/>
  <p:tag name="CUSTOMCELLBACKCOLOR1" val="-657956"/>
  <p:tag name="PRRESPONSE4" val="7"/>
  <p:tag name="ADVANCEDSETTINGSVIEW" val="False"/>
  <p:tag name="DELIMITERS" val="3.1"/>
  <p:tag name="TPFULLVERSION" val="4.2.3.2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dian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2109C"/>
      </a:accent1>
      <a:accent2>
        <a:srgbClr val="6A1232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edian">
      <a:majorFont>
        <a:latin typeface="Tw Cen MT"/>
        <a:ea typeface=""/>
        <a:cs typeface=""/>
        <a:font script="Grek" typeface="Calibri"/>
        <a:font script="Cyrl" typeface="Calibri"/>
        <a:font script="Jpan" typeface="ＭＳ Ｐゴシック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ＭＳ Ｐゴシック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areFirst">
  <a:themeElements>
    <a:clrScheme name="Custom 4">
      <a:dk1>
        <a:srgbClr val="000000"/>
      </a:dk1>
      <a:lt1>
        <a:srgbClr val="FFFFFF"/>
      </a:lt1>
      <a:dk2>
        <a:srgbClr val="A5A5A5"/>
      </a:dk2>
      <a:lt2>
        <a:srgbClr val="FFFFFF"/>
      </a:lt2>
      <a:accent1>
        <a:srgbClr val="C00000"/>
      </a:accent1>
      <a:accent2>
        <a:srgbClr val="D8D8D8"/>
      </a:accent2>
      <a:accent3>
        <a:srgbClr val="A5A5A5"/>
      </a:accent3>
      <a:accent4>
        <a:srgbClr val="002960"/>
      </a:accent4>
      <a:accent5>
        <a:srgbClr val="FF6600"/>
      </a:accent5>
      <a:accent6>
        <a:srgbClr val="808080"/>
      </a:accent6>
      <a:hlink>
        <a:srgbClr val="A5A5A5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0C0C0">
            <a:alpha val="89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 algn="ctr">
          <a:defRPr/>
        </a:defPPr>
      </a:lstStyle>
    </a:spDef>
    <a:txDef>
      <a:spPr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>
    <a:extraClrScheme>
      <a:clrScheme name="Mallory White 16 9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llory White 16 9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llory White 16 9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0130815 Mallory White 16 9">
  <a:themeElements>
    <a:clrScheme name="Custom 4">
      <a:dk1>
        <a:srgbClr val="000000"/>
      </a:dk1>
      <a:lt1>
        <a:srgbClr val="FFFFFF"/>
      </a:lt1>
      <a:dk2>
        <a:srgbClr val="A5A5A5"/>
      </a:dk2>
      <a:lt2>
        <a:srgbClr val="FFFFFF"/>
      </a:lt2>
      <a:accent1>
        <a:srgbClr val="C00000"/>
      </a:accent1>
      <a:accent2>
        <a:srgbClr val="D8D8D8"/>
      </a:accent2>
      <a:accent3>
        <a:srgbClr val="A5A5A5"/>
      </a:accent3>
      <a:accent4>
        <a:srgbClr val="002960"/>
      </a:accent4>
      <a:accent5>
        <a:srgbClr val="FF6600"/>
      </a:accent5>
      <a:accent6>
        <a:srgbClr val="808080"/>
      </a:accent6>
      <a:hlink>
        <a:srgbClr val="A5A5A5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0C0C0">
            <a:alpha val="89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 algn="ctr">
          <a:defRPr/>
        </a:defPPr>
      </a:lstStyle>
    </a:spDef>
    <a:txDef>
      <a:spPr>
        <a:noFill/>
        <a:ln>
          <a:noFill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>
    <a:extraClrScheme>
      <a:clrScheme name="Mallory White 16 9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llory White 16 9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llory White 16 9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20130815 Mallory White 16 9">
  <a:themeElements>
    <a:clrScheme name="Custom 4">
      <a:dk1>
        <a:srgbClr val="000000"/>
      </a:dk1>
      <a:lt1>
        <a:srgbClr val="FFFFFF"/>
      </a:lt1>
      <a:dk2>
        <a:srgbClr val="A5A5A5"/>
      </a:dk2>
      <a:lt2>
        <a:srgbClr val="FFFFFF"/>
      </a:lt2>
      <a:accent1>
        <a:srgbClr val="C00000"/>
      </a:accent1>
      <a:accent2>
        <a:srgbClr val="D8D8D8"/>
      </a:accent2>
      <a:accent3>
        <a:srgbClr val="A5A5A5"/>
      </a:accent3>
      <a:accent4>
        <a:srgbClr val="002960"/>
      </a:accent4>
      <a:accent5>
        <a:srgbClr val="FF6600"/>
      </a:accent5>
      <a:accent6>
        <a:srgbClr val="808080"/>
      </a:accent6>
      <a:hlink>
        <a:srgbClr val="A5A5A5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0C0C0">
            <a:alpha val="89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 algn="ctr">
          <a:defRPr/>
        </a:defPPr>
      </a:lstStyle>
    </a:spDef>
    <a:txDef>
      <a:spPr>
        <a:noFill/>
        <a:ln>
          <a:noFill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>
    <a:extraClrScheme>
      <a:clrScheme name="Mallory White 16 9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llory White 16 9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llory White 16 9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64[[fn=Dividend]]</Template>
  <TotalTime>39336</TotalTime>
  <Words>3186</Words>
  <Application>Microsoft Macintosh PowerPoint</Application>
  <PresentationFormat>On-screen Show (4:3)</PresentationFormat>
  <Paragraphs>622</Paragraphs>
  <Slides>65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65</vt:i4>
      </vt:variant>
    </vt:vector>
  </HeadingPairs>
  <TitlesOfParts>
    <vt:vector size="77" baseType="lpstr">
      <vt:lpstr>Arial</vt:lpstr>
      <vt:lpstr>Calibri</vt:lpstr>
      <vt:lpstr>Gill Sans MT</vt:lpstr>
      <vt:lpstr>HelveticaNeueLT Std</vt:lpstr>
      <vt:lpstr>Tahoma</vt:lpstr>
      <vt:lpstr>Times New Roman</vt:lpstr>
      <vt:lpstr>Tw Cen MT</vt:lpstr>
      <vt:lpstr>Wingdings</vt:lpstr>
      <vt:lpstr>Median</vt:lpstr>
      <vt:lpstr>CareFirst</vt:lpstr>
      <vt:lpstr>20130815 Mallory White 16 9</vt:lpstr>
      <vt:lpstr>1_20130815 Mallory White 16 9</vt:lpstr>
      <vt:lpstr>PowerPoint Presentation</vt:lpstr>
      <vt:lpstr>PowerPoint Presentation</vt:lpstr>
      <vt:lpstr>PowerPoint Presentation</vt:lpstr>
      <vt:lpstr>PowerPoint Presentation</vt:lpstr>
      <vt:lpstr>PEM at Baylor and Texas Children’s</vt:lpstr>
      <vt:lpstr>Texas Children’s Hospital</vt:lpstr>
      <vt:lpstr>Texas Children’s - Main Campus</vt:lpstr>
      <vt:lpstr>Texas Children’s – West Campus</vt:lpstr>
      <vt:lpstr>Texas Children’s – Woodlands</vt:lpstr>
      <vt:lpstr>Tri-Campus TCH Arrivals 2018-2021</vt:lpstr>
      <vt:lpstr>Patient Acuity</vt:lpstr>
      <vt:lpstr>Goals &amp; Objectives</vt:lpstr>
      <vt:lpstr>PEM Fellowship Curriculum</vt:lpstr>
      <vt:lpstr>Clinical practice</vt:lpstr>
      <vt:lpstr>Teaching and consulting</vt:lpstr>
      <vt:lpstr>Administrative training</vt:lpstr>
      <vt:lpstr>Quality and Performance Improvement</vt:lpstr>
      <vt:lpstr>Career development</vt:lpstr>
      <vt:lpstr>Fellowship Curriculum</vt:lpstr>
      <vt:lpstr>First year curriculum –  Peds trained</vt:lpstr>
      <vt:lpstr>First year curriculum –  EM trained</vt:lpstr>
      <vt:lpstr>Second year curriculum –  Peds trained</vt:lpstr>
      <vt:lpstr>Second year curriculum –  EM trained</vt:lpstr>
      <vt:lpstr>Third year curriculum –  peds trained</vt:lpstr>
      <vt:lpstr>Extra hours experience</vt:lpstr>
      <vt:lpstr>All Fellows</vt:lpstr>
      <vt:lpstr>PEM Rotations</vt:lpstr>
      <vt:lpstr>PEM-Global Health Combined Fellowship</vt:lpstr>
      <vt:lpstr>PEM-Global Health Fellowship</vt:lpstr>
      <vt:lpstr>PEM-Global Health Combined Fellowship</vt:lpstr>
      <vt:lpstr>Electives</vt:lpstr>
      <vt:lpstr>Academics: Conferences and Lectures</vt:lpstr>
      <vt:lpstr>Conferences Series- 24 month  Curriculum </vt:lpstr>
      <vt:lpstr>Conferences Series- 24 month Curriculum</vt:lpstr>
      <vt:lpstr>PEM Domains of Interests</vt:lpstr>
      <vt:lpstr>Education</vt:lpstr>
      <vt:lpstr>PEM Domains of Interests</vt:lpstr>
      <vt:lpstr>PEM Domains of Interest</vt:lpstr>
      <vt:lpstr>Global Health</vt:lpstr>
      <vt:lpstr>PEM Point-of Care Ultrasound </vt:lpstr>
      <vt:lpstr>POCUS Training</vt:lpstr>
      <vt:lpstr>PEM simulation</vt:lpstr>
      <vt:lpstr>PEM outreach and service</vt:lpstr>
      <vt:lpstr>PEM Research </vt:lpstr>
      <vt:lpstr>Scholarship</vt:lpstr>
      <vt:lpstr>N National presentations</vt:lpstr>
      <vt:lpstr>PowerPoint Presentation</vt:lpstr>
      <vt:lpstr>PowerPoint Presentation</vt:lpstr>
      <vt:lpstr>How Are Academic Skills Developed in PEM Fellowship?</vt:lpstr>
      <vt:lpstr>Topics in Research Series: 2022-2023 Schedule</vt:lpstr>
      <vt:lpstr>Advisory Committee on  Excellence in Research (ACER)</vt:lpstr>
      <vt:lpstr>Journal Club &amp; Literature Review </vt:lpstr>
      <vt:lpstr>Faculty &amp; Research Mentor Roles</vt:lpstr>
      <vt:lpstr>Other Scholarly Activities </vt:lpstr>
      <vt:lpstr>Other Activities (Optional)</vt:lpstr>
      <vt:lpstr>PEM RESEARCH STRUCTURE</vt:lpstr>
      <vt:lpstr>PECARN</vt:lpstr>
      <vt:lpstr>Research: ongoing studies</vt:lpstr>
      <vt:lpstr>Current Single-Center Studies  (just a sampling)</vt:lpstr>
      <vt:lpstr>Examples of Fellows’ Studies 2016-current</vt:lpstr>
      <vt:lpstr>Evaluations in PEM Fellowship</vt:lpstr>
      <vt:lpstr>Moonlighting</vt:lpstr>
      <vt:lpstr>2022-23 PEM Chief Fellows   </vt:lpstr>
      <vt:lpstr>PowerPoint Presentation</vt:lpstr>
      <vt:lpstr>PowerPoint Presentation</vt:lpstr>
    </vt:vector>
  </TitlesOfParts>
  <Company>Texas Children's Hospit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diatric Emergency Medicine Fellowship Orientation</dc:title>
  <dc:creator>dchsu</dc:creator>
  <cp:lastModifiedBy>Little-Wienert, Kim J</cp:lastModifiedBy>
  <cp:revision>430</cp:revision>
  <cp:lastPrinted>2015-11-09T19:25:06Z</cp:lastPrinted>
  <dcterms:created xsi:type="dcterms:W3CDTF">2002-06-18T17:23:35Z</dcterms:created>
  <dcterms:modified xsi:type="dcterms:W3CDTF">2022-07-15T04:05:29Z</dcterms:modified>
</cp:coreProperties>
</file>